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4.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tags/tag2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2" r:id="rId5"/>
    <p:sldMasterId id="2147483817" r:id="rId6"/>
    <p:sldMasterId id="2147483863" r:id="rId7"/>
    <p:sldMasterId id="2147483871" r:id="rId8"/>
    <p:sldMasterId id="2147483890" r:id="rId9"/>
    <p:sldMasterId id="2147483938" r:id="rId10"/>
  </p:sldMasterIdLst>
  <p:notesMasterIdLst>
    <p:notesMasterId r:id="rId13"/>
  </p:notesMasterIdLst>
  <p:handoutMasterIdLst>
    <p:handoutMasterId r:id="rId14"/>
  </p:handoutMasterIdLst>
  <p:sldIdLst>
    <p:sldId id="2147481199" r:id="rId11"/>
    <p:sldId id="214748123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E" id="{640D3F0F-95B8-184B-8D49-96220A0DEDEB}">
          <p14:sldIdLst>
            <p14:sldId id="2147481199"/>
            <p14:sldId id="214748123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88EED2-7799-2B92-66F4-11016879186F}" name="Baher, Yogesh (VWITS India I-GC-F)" initials="BY(IIGF" userId="S::yogesh.baher@volkswagen.co.in::b2fca277-e161-4bf7-81ae-9ae9b0dfce8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33"/>
    <a:srgbClr val="008C82"/>
    <a:srgbClr val="E0D67A"/>
    <a:srgbClr val="AEA029"/>
    <a:srgbClr val="CCECFF"/>
    <a:srgbClr val="E5F3F2"/>
    <a:srgbClr val="99CCFF"/>
    <a:srgbClr val="FFFFCC"/>
    <a:srgbClr val="FD9F8A"/>
    <a:srgbClr val="1670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574C4A-5F3A-4470-9BF7-CD5EA811C079}" v="663" dt="2025-06-23T10:31:56.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2" d="100"/>
          <a:sy n="112" d="100"/>
        </p:scale>
        <p:origin x="516" y="32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Master" Target="slideMasters/slideMaster7.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kravarthy, Praveen (VWITS India I-TF)" userId="S::praveen.chakravarthy@volkswagen.co.in::5c183e1a-0ec9-4025-9668-b3f7b751ace7" providerId="AD" clId="Web-{56A12792-42C0-3A72-99CB-914CF01496B9}"/>
    <pc:docChg chg="addSld delSld modSld modSection">
      <pc:chgData name="Chakravarthy, Praveen (VWITS India I-TF)" userId="S::praveen.chakravarthy@volkswagen.co.in::5c183e1a-0ec9-4025-9668-b3f7b751ace7" providerId="AD" clId="Web-{56A12792-42C0-3A72-99CB-914CF01496B9}" dt="2025-06-17T08:53:27.810" v="20"/>
      <pc:docMkLst>
        <pc:docMk/>
      </pc:docMkLst>
      <pc:sldChg chg="del">
        <pc:chgData name="Chakravarthy, Praveen (VWITS India I-TF)" userId="S::praveen.chakravarthy@volkswagen.co.in::5c183e1a-0ec9-4025-9668-b3f7b751ace7" providerId="AD" clId="Web-{56A12792-42C0-3A72-99CB-914CF01496B9}" dt="2025-06-17T08:53:13.591" v="19"/>
        <pc:sldMkLst>
          <pc:docMk/>
          <pc:sldMk cId="3071219425" sldId="2147481319"/>
        </pc:sldMkLst>
      </pc:sldChg>
      <pc:sldChg chg="addSp delSp modSp">
        <pc:chgData name="Chakravarthy, Praveen (VWITS India I-TF)" userId="S::praveen.chakravarthy@volkswagen.co.in::5c183e1a-0ec9-4025-9668-b3f7b751ace7" providerId="AD" clId="Web-{56A12792-42C0-3A72-99CB-914CF01496B9}" dt="2025-06-17T08:51:56.840" v="17"/>
        <pc:sldMkLst>
          <pc:docMk/>
          <pc:sldMk cId="1117642453" sldId="2147481322"/>
        </pc:sldMkLst>
        <pc:graphicFrameChg chg="add mod modGraphic">
          <ac:chgData name="Chakravarthy, Praveen (VWITS India I-TF)" userId="S::praveen.chakravarthy@volkswagen.co.in::5c183e1a-0ec9-4025-9668-b3f7b751ace7" providerId="AD" clId="Web-{56A12792-42C0-3A72-99CB-914CF01496B9}" dt="2025-06-17T08:51:56.840" v="17"/>
          <ac:graphicFrameMkLst>
            <pc:docMk/>
            <pc:sldMk cId="1117642453" sldId="2147481322"/>
            <ac:graphicFrameMk id="5" creationId="{618DEC74-D5D9-31CD-18CC-B7F66A1D01B8}"/>
          </ac:graphicFrameMkLst>
        </pc:graphicFrameChg>
      </pc:sldChg>
      <pc:sldChg chg="addSp delSp modSp">
        <pc:chgData name="Chakravarthy, Praveen (VWITS India I-TF)" userId="S::praveen.chakravarthy@volkswagen.co.in::5c183e1a-0ec9-4025-9668-b3f7b751ace7" providerId="AD" clId="Web-{56A12792-42C0-3A72-99CB-914CF01496B9}" dt="2025-06-17T08:48:49.902" v="9" actId="1076"/>
        <pc:sldMkLst>
          <pc:docMk/>
          <pc:sldMk cId="2809793972" sldId="2147481327"/>
        </pc:sldMkLst>
        <pc:picChg chg="add mod">
          <ac:chgData name="Chakravarthy, Praveen (VWITS India I-TF)" userId="S::praveen.chakravarthy@volkswagen.co.in::5c183e1a-0ec9-4025-9668-b3f7b751ace7" providerId="AD" clId="Web-{56A12792-42C0-3A72-99CB-914CF01496B9}" dt="2025-06-17T08:48:29.402" v="6" actId="14100"/>
          <ac:picMkLst>
            <pc:docMk/>
            <pc:sldMk cId="2809793972" sldId="2147481327"/>
            <ac:picMk id="4" creationId="{4ECB2149-F7EB-513A-3147-4CF78B8ECB80}"/>
          </ac:picMkLst>
        </pc:picChg>
        <pc:picChg chg="add mod">
          <ac:chgData name="Chakravarthy, Praveen (VWITS India I-TF)" userId="S::praveen.chakravarthy@volkswagen.co.in::5c183e1a-0ec9-4025-9668-b3f7b751ace7" providerId="AD" clId="Web-{56A12792-42C0-3A72-99CB-914CF01496B9}" dt="2025-06-17T08:48:49.902" v="9" actId="1076"/>
          <ac:picMkLst>
            <pc:docMk/>
            <pc:sldMk cId="2809793972" sldId="2147481327"/>
            <ac:picMk id="5" creationId="{A73F046C-2F23-58FA-6518-0828BA0CDF4A}"/>
          </ac:picMkLst>
        </pc:picChg>
      </pc:sldChg>
      <pc:sldChg chg="addSp add">
        <pc:chgData name="Chakravarthy, Praveen (VWITS India I-TF)" userId="S::praveen.chakravarthy@volkswagen.co.in::5c183e1a-0ec9-4025-9668-b3f7b751ace7" providerId="AD" clId="Web-{56A12792-42C0-3A72-99CB-914CF01496B9}" dt="2025-06-17T08:53:27.810" v="20"/>
        <pc:sldMkLst>
          <pc:docMk/>
          <pc:sldMk cId="617368122" sldId="2147481331"/>
        </pc:sldMkLst>
      </pc:sldChg>
    </pc:docChg>
  </pc:docChgLst>
  <pc:docChgLst>
    <pc:chgData name="Gupta, Nikhil (VWITS India I-TF)" userId="d94c4b01-03c4-4a71-84a6-558d9e07e369" providerId="ADAL" clId="{359434B9-48C1-4497-BDDD-F8750251845E}"/>
    <pc:docChg chg="delSld modSld modSection">
      <pc:chgData name="Gupta, Nikhil (VWITS India I-TF)" userId="d94c4b01-03c4-4a71-84a6-558d9e07e369" providerId="ADAL" clId="{359434B9-48C1-4497-BDDD-F8750251845E}" dt="2025-06-24T04:44:10.972" v="2" actId="47"/>
      <pc:docMkLst>
        <pc:docMk/>
      </pc:docMkLst>
      <pc:sldChg chg="del">
        <pc:chgData name="Gupta, Nikhil (VWITS India I-TF)" userId="d94c4b01-03c4-4a71-84a6-558d9e07e369" providerId="ADAL" clId="{359434B9-48C1-4497-BDDD-F8750251845E}" dt="2025-06-24T04:44:10.972" v="2" actId="47"/>
        <pc:sldMkLst>
          <pc:docMk/>
          <pc:sldMk cId="4145606023" sldId="2147481102"/>
        </pc:sldMkLst>
      </pc:sldChg>
      <pc:sldChg chg="modSp mod">
        <pc:chgData name="Gupta, Nikhil (VWITS India I-TF)" userId="d94c4b01-03c4-4a71-84a6-558d9e07e369" providerId="ADAL" clId="{359434B9-48C1-4497-BDDD-F8750251845E}" dt="2025-06-24T04:44:04.336" v="1" actId="20577"/>
        <pc:sldMkLst>
          <pc:docMk/>
          <pc:sldMk cId="491906342" sldId="2147481236"/>
        </pc:sldMkLst>
        <pc:spChg chg="mod">
          <ac:chgData name="Gupta, Nikhil (VWITS India I-TF)" userId="d94c4b01-03c4-4a71-84a6-558d9e07e369" providerId="ADAL" clId="{359434B9-48C1-4497-BDDD-F8750251845E}" dt="2025-06-24T04:44:04.336" v="1" actId="20577"/>
          <ac:spMkLst>
            <pc:docMk/>
            <pc:sldMk cId="491906342" sldId="2147481236"/>
            <ac:spMk id="2" creationId="{C881C178-76DC-E091-FD83-36C729E73F9A}"/>
          </ac:spMkLst>
        </pc:spChg>
      </pc:sldChg>
      <pc:sldChg chg="del">
        <pc:chgData name="Gupta, Nikhil (VWITS India I-TF)" userId="d94c4b01-03c4-4a71-84a6-558d9e07e369" providerId="ADAL" clId="{359434B9-48C1-4497-BDDD-F8750251845E}" dt="2025-06-24T04:44:10.972" v="2" actId="47"/>
        <pc:sldMkLst>
          <pc:docMk/>
          <pc:sldMk cId="3224003670" sldId="2147481239"/>
        </pc:sldMkLst>
      </pc:sldChg>
      <pc:sldChg chg="del">
        <pc:chgData name="Gupta, Nikhil (VWITS India I-TF)" userId="d94c4b01-03c4-4a71-84a6-558d9e07e369" providerId="ADAL" clId="{359434B9-48C1-4497-BDDD-F8750251845E}" dt="2025-06-24T04:44:10.972" v="2" actId="47"/>
        <pc:sldMkLst>
          <pc:docMk/>
          <pc:sldMk cId="3595425842" sldId="2147481272"/>
        </pc:sldMkLst>
      </pc:sldChg>
      <pc:sldChg chg="del">
        <pc:chgData name="Gupta, Nikhil (VWITS India I-TF)" userId="d94c4b01-03c4-4a71-84a6-558d9e07e369" providerId="ADAL" clId="{359434B9-48C1-4497-BDDD-F8750251845E}" dt="2025-06-24T04:44:10.972" v="2" actId="47"/>
        <pc:sldMkLst>
          <pc:docMk/>
          <pc:sldMk cId="3796376823" sldId="2147481280"/>
        </pc:sldMkLst>
      </pc:sldChg>
      <pc:sldChg chg="del">
        <pc:chgData name="Gupta, Nikhil (VWITS India I-TF)" userId="d94c4b01-03c4-4a71-84a6-558d9e07e369" providerId="ADAL" clId="{359434B9-48C1-4497-BDDD-F8750251845E}" dt="2025-06-24T04:44:10.972" v="2" actId="47"/>
        <pc:sldMkLst>
          <pc:docMk/>
          <pc:sldMk cId="3634853704" sldId="2147481292"/>
        </pc:sldMkLst>
      </pc:sldChg>
      <pc:sldChg chg="del">
        <pc:chgData name="Gupta, Nikhil (VWITS India I-TF)" userId="d94c4b01-03c4-4a71-84a6-558d9e07e369" providerId="ADAL" clId="{359434B9-48C1-4497-BDDD-F8750251845E}" dt="2025-06-24T04:44:10.972" v="2" actId="47"/>
        <pc:sldMkLst>
          <pc:docMk/>
          <pc:sldMk cId="3541850536" sldId="2147481301"/>
        </pc:sldMkLst>
      </pc:sldChg>
      <pc:sldChg chg="del">
        <pc:chgData name="Gupta, Nikhil (VWITS India I-TF)" userId="d94c4b01-03c4-4a71-84a6-558d9e07e369" providerId="ADAL" clId="{359434B9-48C1-4497-BDDD-F8750251845E}" dt="2025-06-24T04:44:10.972" v="2" actId="47"/>
        <pc:sldMkLst>
          <pc:docMk/>
          <pc:sldMk cId="4174817567" sldId="2147481307"/>
        </pc:sldMkLst>
      </pc:sldChg>
      <pc:sldChg chg="del">
        <pc:chgData name="Gupta, Nikhil (VWITS India I-TF)" userId="d94c4b01-03c4-4a71-84a6-558d9e07e369" providerId="ADAL" clId="{359434B9-48C1-4497-BDDD-F8750251845E}" dt="2025-06-24T04:44:10.972" v="2" actId="47"/>
        <pc:sldMkLst>
          <pc:docMk/>
          <pc:sldMk cId="2117917660" sldId="2147481308"/>
        </pc:sldMkLst>
      </pc:sldChg>
      <pc:sldChg chg="del">
        <pc:chgData name="Gupta, Nikhil (VWITS India I-TF)" userId="d94c4b01-03c4-4a71-84a6-558d9e07e369" providerId="ADAL" clId="{359434B9-48C1-4497-BDDD-F8750251845E}" dt="2025-06-24T04:44:10.972" v="2" actId="47"/>
        <pc:sldMkLst>
          <pc:docMk/>
          <pc:sldMk cId="1719958439" sldId="2147481309"/>
        </pc:sldMkLst>
      </pc:sldChg>
      <pc:sldChg chg="del">
        <pc:chgData name="Gupta, Nikhil (VWITS India I-TF)" userId="d94c4b01-03c4-4a71-84a6-558d9e07e369" providerId="ADAL" clId="{359434B9-48C1-4497-BDDD-F8750251845E}" dt="2025-06-24T04:44:10.972" v="2" actId="47"/>
        <pc:sldMkLst>
          <pc:docMk/>
          <pc:sldMk cId="2395488944" sldId="2147481311"/>
        </pc:sldMkLst>
      </pc:sldChg>
      <pc:sldChg chg="del">
        <pc:chgData name="Gupta, Nikhil (VWITS India I-TF)" userId="d94c4b01-03c4-4a71-84a6-558d9e07e369" providerId="ADAL" clId="{359434B9-48C1-4497-BDDD-F8750251845E}" dt="2025-06-24T04:44:10.972" v="2" actId="47"/>
        <pc:sldMkLst>
          <pc:docMk/>
          <pc:sldMk cId="1290562163" sldId="2147481312"/>
        </pc:sldMkLst>
      </pc:sldChg>
      <pc:sldChg chg="del">
        <pc:chgData name="Gupta, Nikhil (VWITS India I-TF)" userId="d94c4b01-03c4-4a71-84a6-558d9e07e369" providerId="ADAL" clId="{359434B9-48C1-4497-BDDD-F8750251845E}" dt="2025-06-24T04:44:10.972" v="2" actId="47"/>
        <pc:sldMkLst>
          <pc:docMk/>
          <pc:sldMk cId="468884632" sldId="2147481313"/>
        </pc:sldMkLst>
      </pc:sldChg>
      <pc:sldChg chg="del">
        <pc:chgData name="Gupta, Nikhil (VWITS India I-TF)" userId="d94c4b01-03c4-4a71-84a6-558d9e07e369" providerId="ADAL" clId="{359434B9-48C1-4497-BDDD-F8750251845E}" dt="2025-06-24T04:44:10.972" v="2" actId="47"/>
        <pc:sldMkLst>
          <pc:docMk/>
          <pc:sldMk cId="4095665259" sldId="2147481314"/>
        </pc:sldMkLst>
      </pc:sldChg>
      <pc:sldChg chg="del">
        <pc:chgData name="Gupta, Nikhil (VWITS India I-TF)" userId="d94c4b01-03c4-4a71-84a6-558d9e07e369" providerId="ADAL" clId="{359434B9-48C1-4497-BDDD-F8750251845E}" dt="2025-06-24T04:44:10.972" v="2" actId="47"/>
        <pc:sldMkLst>
          <pc:docMk/>
          <pc:sldMk cId="877128312" sldId="2147481316"/>
        </pc:sldMkLst>
      </pc:sldChg>
      <pc:sldChg chg="del">
        <pc:chgData name="Gupta, Nikhil (VWITS India I-TF)" userId="d94c4b01-03c4-4a71-84a6-558d9e07e369" providerId="ADAL" clId="{359434B9-48C1-4497-BDDD-F8750251845E}" dt="2025-06-24T04:44:10.972" v="2" actId="47"/>
        <pc:sldMkLst>
          <pc:docMk/>
          <pc:sldMk cId="1559928798" sldId="2147481317"/>
        </pc:sldMkLst>
      </pc:sldChg>
      <pc:sldChg chg="del">
        <pc:chgData name="Gupta, Nikhil (VWITS India I-TF)" userId="d94c4b01-03c4-4a71-84a6-558d9e07e369" providerId="ADAL" clId="{359434B9-48C1-4497-BDDD-F8750251845E}" dt="2025-06-24T04:44:10.972" v="2" actId="47"/>
        <pc:sldMkLst>
          <pc:docMk/>
          <pc:sldMk cId="339756474" sldId="2147481320"/>
        </pc:sldMkLst>
      </pc:sldChg>
      <pc:sldChg chg="del">
        <pc:chgData name="Gupta, Nikhil (VWITS India I-TF)" userId="d94c4b01-03c4-4a71-84a6-558d9e07e369" providerId="ADAL" clId="{359434B9-48C1-4497-BDDD-F8750251845E}" dt="2025-06-24T04:44:10.972" v="2" actId="47"/>
        <pc:sldMkLst>
          <pc:docMk/>
          <pc:sldMk cId="3076233993" sldId="2147481321"/>
        </pc:sldMkLst>
      </pc:sldChg>
      <pc:sldChg chg="del">
        <pc:chgData name="Gupta, Nikhil (VWITS India I-TF)" userId="d94c4b01-03c4-4a71-84a6-558d9e07e369" providerId="ADAL" clId="{359434B9-48C1-4497-BDDD-F8750251845E}" dt="2025-06-24T04:44:10.972" v="2" actId="47"/>
        <pc:sldMkLst>
          <pc:docMk/>
          <pc:sldMk cId="1117642453" sldId="2147481322"/>
        </pc:sldMkLst>
      </pc:sldChg>
      <pc:sldChg chg="del">
        <pc:chgData name="Gupta, Nikhil (VWITS India I-TF)" userId="d94c4b01-03c4-4a71-84a6-558d9e07e369" providerId="ADAL" clId="{359434B9-48C1-4497-BDDD-F8750251845E}" dt="2025-06-24T04:44:10.972" v="2" actId="47"/>
        <pc:sldMkLst>
          <pc:docMk/>
          <pc:sldMk cId="1305830977" sldId="2147481323"/>
        </pc:sldMkLst>
      </pc:sldChg>
      <pc:sldChg chg="del">
        <pc:chgData name="Gupta, Nikhil (VWITS India I-TF)" userId="d94c4b01-03c4-4a71-84a6-558d9e07e369" providerId="ADAL" clId="{359434B9-48C1-4497-BDDD-F8750251845E}" dt="2025-06-24T04:44:10.972" v="2" actId="47"/>
        <pc:sldMkLst>
          <pc:docMk/>
          <pc:sldMk cId="2458987541" sldId="2147481324"/>
        </pc:sldMkLst>
      </pc:sldChg>
      <pc:sldChg chg="del">
        <pc:chgData name="Gupta, Nikhil (VWITS India I-TF)" userId="d94c4b01-03c4-4a71-84a6-558d9e07e369" providerId="ADAL" clId="{359434B9-48C1-4497-BDDD-F8750251845E}" dt="2025-06-24T04:44:10.972" v="2" actId="47"/>
        <pc:sldMkLst>
          <pc:docMk/>
          <pc:sldMk cId="1425241259" sldId="2147481326"/>
        </pc:sldMkLst>
      </pc:sldChg>
      <pc:sldChg chg="del">
        <pc:chgData name="Gupta, Nikhil (VWITS India I-TF)" userId="d94c4b01-03c4-4a71-84a6-558d9e07e369" providerId="ADAL" clId="{359434B9-48C1-4497-BDDD-F8750251845E}" dt="2025-06-24T04:44:10.972" v="2" actId="47"/>
        <pc:sldMkLst>
          <pc:docMk/>
          <pc:sldMk cId="2809793972" sldId="2147481327"/>
        </pc:sldMkLst>
      </pc:sldChg>
      <pc:sldChg chg="del">
        <pc:chgData name="Gupta, Nikhil (VWITS India I-TF)" userId="d94c4b01-03c4-4a71-84a6-558d9e07e369" providerId="ADAL" clId="{359434B9-48C1-4497-BDDD-F8750251845E}" dt="2025-06-24T04:44:10.972" v="2" actId="47"/>
        <pc:sldMkLst>
          <pc:docMk/>
          <pc:sldMk cId="748660010" sldId="2147481328"/>
        </pc:sldMkLst>
      </pc:sldChg>
      <pc:sldChg chg="del">
        <pc:chgData name="Gupta, Nikhil (VWITS India I-TF)" userId="d94c4b01-03c4-4a71-84a6-558d9e07e369" providerId="ADAL" clId="{359434B9-48C1-4497-BDDD-F8750251845E}" dt="2025-06-24T04:44:10.972" v="2" actId="47"/>
        <pc:sldMkLst>
          <pc:docMk/>
          <pc:sldMk cId="1476470028" sldId="2147481329"/>
        </pc:sldMkLst>
      </pc:sldChg>
      <pc:sldChg chg="del">
        <pc:chgData name="Gupta, Nikhil (VWITS India I-TF)" userId="d94c4b01-03c4-4a71-84a6-558d9e07e369" providerId="ADAL" clId="{359434B9-48C1-4497-BDDD-F8750251845E}" dt="2025-06-24T04:44:10.972" v="2" actId="47"/>
        <pc:sldMkLst>
          <pc:docMk/>
          <pc:sldMk cId="3870509309" sldId="2147481330"/>
        </pc:sldMkLst>
      </pc:sldChg>
      <pc:sldChg chg="del">
        <pc:chgData name="Gupta, Nikhil (VWITS India I-TF)" userId="d94c4b01-03c4-4a71-84a6-558d9e07e369" providerId="ADAL" clId="{359434B9-48C1-4497-BDDD-F8750251845E}" dt="2025-06-24T04:44:10.972" v="2" actId="47"/>
        <pc:sldMkLst>
          <pc:docMk/>
          <pc:sldMk cId="617368122" sldId="2147481331"/>
        </pc:sldMkLst>
      </pc:sldChg>
      <pc:sldChg chg="del">
        <pc:chgData name="Gupta, Nikhil (VWITS India I-TF)" userId="d94c4b01-03c4-4a71-84a6-558d9e07e369" providerId="ADAL" clId="{359434B9-48C1-4497-BDDD-F8750251845E}" dt="2025-06-24T04:44:10.972" v="2" actId="47"/>
        <pc:sldMkLst>
          <pc:docMk/>
          <pc:sldMk cId="3528894101" sldId="2147481332"/>
        </pc:sldMkLst>
      </pc:sldChg>
    </pc:docChg>
  </pc:docChgLst>
  <pc:docChgLst>
    <pc:chgData name="Chakravarthy, Praveen (VWITS India I-T-F)" userId="S::praveen.chakravarthy@volkswagen.co.in::5c183e1a-0ec9-4025-9668-b3f7b751ace7" providerId="AD" clId="Web-{2596AB02-86EA-3DB7-2F99-F2BE2B6DB84D}"/>
    <pc:docChg chg="modSld">
      <pc:chgData name="Chakravarthy, Praveen (VWITS India I-T-F)" userId="S::praveen.chakravarthy@volkswagen.co.in::5c183e1a-0ec9-4025-9668-b3f7b751ace7" providerId="AD" clId="Web-{2596AB02-86EA-3DB7-2F99-F2BE2B6DB84D}" dt="2025-04-15T07:15:04.676" v="67"/>
      <pc:docMkLst>
        <pc:docMk/>
      </pc:docMkLst>
      <pc:sldChg chg="modSp">
        <pc:chgData name="Chakravarthy, Praveen (VWITS India I-T-F)" userId="S::praveen.chakravarthy@volkswagen.co.in::5c183e1a-0ec9-4025-9668-b3f7b751ace7" providerId="AD" clId="Web-{2596AB02-86EA-3DB7-2F99-F2BE2B6DB84D}" dt="2025-04-15T07:15:04.676" v="67"/>
        <pc:sldMkLst>
          <pc:docMk/>
          <pc:sldMk cId="2395488944" sldId="2147481311"/>
        </pc:sldMkLst>
        <pc:graphicFrameChg chg="mod modGraphic">
          <ac:chgData name="Chakravarthy, Praveen (VWITS India I-T-F)" userId="S::praveen.chakravarthy@volkswagen.co.in::5c183e1a-0ec9-4025-9668-b3f7b751ace7" providerId="AD" clId="Web-{2596AB02-86EA-3DB7-2F99-F2BE2B6DB84D}" dt="2025-04-15T07:15:04.676" v="67"/>
          <ac:graphicFrameMkLst>
            <pc:docMk/>
            <pc:sldMk cId="2395488944" sldId="2147481311"/>
            <ac:graphicFrameMk id="14" creationId="{01F4BC91-5B66-CE70-3564-145F58147F0D}"/>
          </ac:graphicFrameMkLst>
        </pc:graphicFrameChg>
      </pc:sldChg>
    </pc:docChg>
  </pc:docChgLst>
  <pc:docChgLst>
    <pc:chgData name="Bangad, Dheeraj (VWITS India I-GT-F)" userId="S::dheeraj.bangad@volkswagen.co.in::3dd76c2d-0b00-432b-bea5-9d30b6b2c755" providerId="AD" clId="Web-{F89E91AF-04A6-4508-B80A-D50BDF160121}"/>
    <pc:docChg chg="modSld">
      <pc:chgData name="Bangad, Dheeraj (VWITS India I-GT-F)" userId="S::dheeraj.bangad@volkswagen.co.in::3dd76c2d-0b00-432b-bea5-9d30b6b2c755" providerId="AD" clId="Web-{F89E91AF-04A6-4508-B80A-D50BDF160121}" dt="2024-12-03T05:11:40.932" v="1124" actId="20577"/>
      <pc:docMkLst>
        <pc:docMk/>
      </pc:docMkLst>
      <pc:sldChg chg="delSp modSp">
        <pc:chgData name="Bangad, Dheeraj (VWITS India I-GT-F)" userId="S::dheeraj.bangad@volkswagen.co.in::3dd76c2d-0b00-432b-bea5-9d30b6b2c755" providerId="AD" clId="Web-{F89E91AF-04A6-4508-B80A-D50BDF160121}" dt="2024-12-03T05:03:28.959" v="360" actId="20577"/>
        <pc:sldMkLst>
          <pc:docMk/>
          <pc:sldMk cId="1482798747" sldId="257"/>
        </pc:sldMkLst>
      </pc:sldChg>
      <pc:sldChg chg="modSp">
        <pc:chgData name="Bangad, Dheeraj (VWITS India I-GT-F)" userId="S::dheeraj.bangad@volkswagen.co.in::3dd76c2d-0b00-432b-bea5-9d30b6b2c755" providerId="AD" clId="Web-{F89E91AF-04A6-4508-B80A-D50BDF160121}" dt="2024-12-03T05:11:40.932" v="1124" actId="20577"/>
        <pc:sldMkLst>
          <pc:docMk/>
          <pc:sldMk cId="3293083477" sldId="2147481279"/>
        </pc:sldMkLst>
      </pc:sldChg>
      <pc:sldChg chg="modSp">
        <pc:chgData name="Bangad, Dheeraj (VWITS India I-GT-F)" userId="S::dheeraj.bangad@volkswagen.co.in::3dd76c2d-0b00-432b-bea5-9d30b6b2c755" providerId="AD" clId="Web-{F89E91AF-04A6-4508-B80A-D50BDF160121}" dt="2024-12-03T05:09:44.459" v="867" actId="1076"/>
        <pc:sldMkLst>
          <pc:docMk/>
          <pc:sldMk cId="3634853704" sldId="2147481292"/>
        </pc:sldMkLst>
      </pc:sldChg>
      <pc:sldChg chg="modSp">
        <pc:chgData name="Bangad, Dheeraj (VWITS India I-GT-F)" userId="S::dheeraj.bangad@volkswagen.co.in::3dd76c2d-0b00-432b-bea5-9d30b6b2c755" providerId="AD" clId="Web-{F89E91AF-04A6-4508-B80A-D50BDF160121}" dt="2024-12-03T05:01:56.487" v="335"/>
        <pc:sldMkLst>
          <pc:docMk/>
          <pc:sldMk cId="3541850536" sldId="2147481301"/>
        </pc:sldMkLst>
      </pc:sldChg>
      <pc:sldChg chg="modSp">
        <pc:chgData name="Bangad, Dheeraj (VWITS India I-GT-F)" userId="S::dheeraj.bangad@volkswagen.co.in::3dd76c2d-0b00-432b-bea5-9d30b6b2c755" providerId="AD" clId="Web-{F89E91AF-04A6-4508-B80A-D50BDF160121}" dt="2024-12-03T05:06:50.795" v="542" actId="1076"/>
        <pc:sldMkLst>
          <pc:docMk/>
          <pc:sldMk cId="1497304881" sldId="2147481302"/>
        </pc:sldMkLst>
      </pc:sldChg>
      <pc:sldChg chg="modSp">
        <pc:chgData name="Bangad, Dheeraj (VWITS India I-GT-F)" userId="S::dheeraj.bangad@volkswagen.co.in::3dd76c2d-0b00-432b-bea5-9d30b6b2c755" providerId="AD" clId="Web-{F89E91AF-04A6-4508-B80A-D50BDF160121}" dt="2024-12-03T05:04:28.852" v="363" actId="20577"/>
        <pc:sldMkLst>
          <pc:docMk/>
          <pc:sldMk cId="4174817567" sldId="2147481307"/>
        </pc:sldMkLst>
      </pc:sldChg>
    </pc:docChg>
  </pc:docChgLst>
  <pc:docChgLst>
    <pc:chgData name="Dabas, Sardul (VWITS India I-GT-F)" userId="d094f239-3bc7-4353-ac2e-43dc4357f19a" providerId="ADAL" clId="{7F9DBD60-14B7-4892-94AE-C657678C05E5}"/>
    <pc:docChg chg="undo custSel addSld delSld modSld modSection">
      <pc:chgData name="Dabas, Sardul (VWITS India I-GT-F)" userId="d094f239-3bc7-4353-ac2e-43dc4357f19a" providerId="ADAL" clId="{7F9DBD60-14B7-4892-94AE-C657678C05E5}" dt="2025-04-11T12:28:12.554" v="90" actId="1035"/>
      <pc:docMkLst>
        <pc:docMk/>
      </pc:docMkLst>
      <pc:sldChg chg="modSp mod">
        <pc:chgData name="Dabas, Sardul (VWITS India I-GT-F)" userId="d094f239-3bc7-4353-ac2e-43dc4357f19a" providerId="ADAL" clId="{7F9DBD60-14B7-4892-94AE-C657678C05E5}" dt="2025-04-11T06:46:04.302" v="83" actId="20577"/>
        <pc:sldMkLst>
          <pc:docMk/>
          <pc:sldMk cId="1719958439" sldId="2147481309"/>
        </pc:sldMkLst>
        <pc:graphicFrameChg chg="mod modGraphic">
          <ac:chgData name="Dabas, Sardul (VWITS India I-GT-F)" userId="d094f239-3bc7-4353-ac2e-43dc4357f19a" providerId="ADAL" clId="{7F9DBD60-14B7-4892-94AE-C657678C05E5}" dt="2025-04-11T06:46:04.302" v="83" actId="20577"/>
          <ac:graphicFrameMkLst>
            <pc:docMk/>
            <pc:sldMk cId="1719958439" sldId="2147481309"/>
            <ac:graphicFrameMk id="14" creationId="{4FB936CE-A19A-57AE-2AD9-0AC7D49B69F9}"/>
          </ac:graphicFrameMkLst>
        </pc:graphicFrameChg>
      </pc:sldChg>
      <pc:sldChg chg="modSp add del mod">
        <pc:chgData name="Dabas, Sardul (VWITS India I-GT-F)" userId="d094f239-3bc7-4353-ac2e-43dc4357f19a" providerId="ADAL" clId="{7F9DBD60-14B7-4892-94AE-C657678C05E5}" dt="2025-04-11T12:28:12.554" v="90" actId="1035"/>
        <pc:sldMkLst>
          <pc:docMk/>
          <pc:sldMk cId="4095665259" sldId="2147481314"/>
        </pc:sldMkLst>
        <pc:spChg chg="mod">
          <ac:chgData name="Dabas, Sardul (VWITS India I-GT-F)" userId="d094f239-3bc7-4353-ac2e-43dc4357f19a" providerId="ADAL" clId="{7F9DBD60-14B7-4892-94AE-C657678C05E5}" dt="2025-04-11T12:28:07.626" v="89" actId="20577"/>
          <ac:spMkLst>
            <pc:docMk/>
            <pc:sldMk cId="4095665259" sldId="2147481314"/>
            <ac:spMk id="4" creationId="{9F033F1E-E53B-2C6F-1B0E-D0D654502D3A}"/>
          </ac:spMkLst>
        </pc:spChg>
        <pc:spChg chg="mod">
          <ac:chgData name="Dabas, Sardul (VWITS India I-GT-F)" userId="d094f239-3bc7-4353-ac2e-43dc4357f19a" providerId="ADAL" clId="{7F9DBD60-14B7-4892-94AE-C657678C05E5}" dt="2025-04-11T12:27:50.510" v="86" actId="1035"/>
          <ac:spMkLst>
            <pc:docMk/>
            <pc:sldMk cId="4095665259" sldId="2147481314"/>
            <ac:spMk id="12" creationId="{B0B0A38C-FA3B-8111-63A5-CC1843371415}"/>
          </ac:spMkLst>
        </pc:spChg>
        <pc:spChg chg="mod">
          <ac:chgData name="Dabas, Sardul (VWITS India I-GT-F)" userId="d094f239-3bc7-4353-ac2e-43dc4357f19a" providerId="ADAL" clId="{7F9DBD60-14B7-4892-94AE-C657678C05E5}" dt="2025-04-11T12:27:58.816" v="88" actId="1035"/>
          <ac:spMkLst>
            <pc:docMk/>
            <pc:sldMk cId="4095665259" sldId="2147481314"/>
            <ac:spMk id="13" creationId="{43796830-BB2C-F209-285D-AF1E4FBE1BBB}"/>
          </ac:spMkLst>
        </pc:spChg>
        <pc:spChg chg="mod">
          <ac:chgData name="Dabas, Sardul (VWITS India I-GT-F)" userId="d094f239-3bc7-4353-ac2e-43dc4357f19a" providerId="ADAL" clId="{7F9DBD60-14B7-4892-94AE-C657678C05E5}" dt="2025-04-11T12:28:12.554" v="90" actId="1035"/>
          <ac:spMkLst>
            <pc:docMk/>
            <pc:sldMk cId="4095665259" sldId="2147481314"/>
            <ac:spMk id="29" creationId="{E8BB607A-FE53-6E2A-6D2D-730A48839533}"/>
          </ac:spMkLst>
        </pc:spChg>
      </pc:sldChg>
      <pc:sldChg chg="add del">
        <pc:chgData name="Dabas, Sardul (VWITS India I-GT-F)" userId="d094f239-3bc7-4353-ac2e-43dc4357f19a" providerId="ADAL" clId="{7F9DBD60-14B7-4892-94AE-C657678C05E5}" dt="2025-04-11T05:53:06.035" v="71" actId="47"/>
        <pc:sldMkLst>
          <pc:docMk/>
          <pc:sldMk cId="753839762" sldId="2147481315"/>
        </pc:sldMkLst>
      </pc:sldChg>
    </pc:docChg>
  </pc:docChgLst>
  <pc:docChgLst>
    <pc:chgData name="Dabas, Sardul (VWITS India I-TF)" userId="S::sardul.dabas@volkswagen.co.in::d094f239-3bc7-4353-ac2e-43dc4357f19a" providerId="AD" clId="Web-{EA6D0D88-2086-D71E-FA6A-ED629B5BABB3}"/>
    <pc:docChg chg="addSld delSld modSld modSection">
      <pc:chgData name="Dabas, Sardul (VWITS India I-TF)" userId="S::sardul.dabas@volkswagen.co.in::d094f239-3bc7-4353-ac2e-43dc4357f19a" providerId="AD" clId="Web-{EA6D0D88-2086-D71E-FA6A-ED629B5BABB3}" dt="2025-06-17T08:10:07.722" v="64" actId="20577"/>
      <pc:docMkLst>
        <pc:docMk/>
      </pc:docMkLst>
      <pc:sldChg chg="del">
        <pc:chgData name="Dabas, Sardul (VWITS India I-TF)" userId="S::sardul.dabas@volkswagen.co.in::d094f239-3bc7-4353-ac2e-43dc4357f19a" providerId="AD" clId="Web-{EA6D0D88-2086-D71E-FA6A-ED629B5BABB3}" dt="2025-06-17T04:35:12.359" v="1"/>
        <pc:sldMkLst>
          <pc:docMk/>
          <pc:sldMk cId="3203616272" sldId="2147481325"/>
        </pc:sldMkLst>
      </pc:sldChg>
      <pc:sldChg chg="modSp add">
        <pc:chgData name="Dabas, Sardul (VWITS India I-TF)" userId="S::sardul.dabas@volkswagen.co.in::d094f239-3bc7-4353-ac2e-43dc4357f19a" providerId="AD" clId="Web-{EA6D0D88-2086-D71E-FA6A-ED629B5BABB3}" dt="2025-06-17T08:10:07.722" v="64" actId="20577"/>
        <pc:sldMkLst>
          <pc:docMk/>
          <pc:sldMk cId="1476470028" sldId="2147481329"/>
        </pc:sldMkLst>
        <pc:spChg chg="mod">
          <ac:chgData name="Dabas, Sardul (VWITS India I-TF)" userId="S::sardul.dabas@volkswagen.co.in::d094f239-3bc7-4353-ac2e-43dc4357f19a" providerId="AD" clId="Web-{EA6D0D88-2086-D71E-FA6A-ED629B5BABB3}" dt="2025-06-17T08:10:07.722" v="64" actId="20577"/>
          <ac:spMkLst>
            <pc:docMk/>
            <pc:sldMk cId="1476470028" sldId="2147481329"/>
            <ac:spMk id="14" creationId="{96C3C7DB-8CDB-9B81-4416-02E45C5558D4}"/>
          </ac:spMkLst>
        </pc:spChg>
        <pc:spChg chg="mod">
          <ac:chgData name="Dabas, Sardul (VWITS India I-TF)" userId="S::sardul.dabas@volkswagen.co.in::d094f239-3bc7-4353-ac2e-43dc4357f19a" providerId="AD" clId="Web-{EA6D0D88-2086-D71E-FA6A-ED629B5BABB3}" dt="2025-06-17T08:06:49.967" v="19" actId="20577"/>
          <ac:spMkLst>
            <pc:docMk/>
            <pc:sldMk cId="1476470028" sldId="2147481329"/>
            <ac:spMk id="27" creationId="{4281B2AA-7E88-D349-B5B1-9AC8F51EC585}"/>
          </ac:spMkLst>
        </pc:spChg>
      </pc:sldChg>
    </pc:docChg>
  </pc:docChgLst>
  <pc:docChgLst>
    <pc:chgData name="Chakravarthy, Praveen (VWITS India I-TF)" userId="S::praveen.chakravarthy@volkswagen.co.in::5c183e1a-0ec9-4025-9668-b3f7b751ace7" providerId="AD" clId="Web-{855AA476-910E-9286-4F26-D21F5500C37A}"/>
    <pc:docChg chg="modSld">
      <pc:chgData name="Chakravarthy, Praveen (VWITS India I-TF)" userId="S::praveen.chakravarthy@volkswagen.co.in::5c183e1a-0ec9-4025-9668-b3f7b751ace7" providerId="AD" clId="Web-{855AA476-910E-9286-4F26-D21F5500C37A}" dt="2025-06-17T04:33:45.507" v="78" actId="1076"/>
      <pc:docMkLst>
        <pc:docMk/>
      </pc:docMkLst>
      <pc:sldChg chg="addSp modSp">
        <pc:chgData name="Chakravarthy, Praveen (VWITS India I-TF)" userId="S::praveen.chakravarthy@volkswagen.co.in::5c183e1a-0ec9-4025-9668-b3f7b751ace7" providerId="AD" clId="Web-{855AA476-910E-9286-4F26-D21F5500C37A}" dt="2025-06-17T04:02:11.428" v="6" actId="1076"/>
        <pc:sldMkLst>
          <pc:docMk/>
          <pc:sldMk cId="1117642453" sldId="2147481322"/>
        </pc:sldMkLst>
      </pc:sldChg>
      <pc:sldChg chg="addSp delSp modSp">
        <pc:chgData name="Chakravarthy, Praveen (VWITS India I-TF)" userId="S::praveen.chakravarthy@volkswagen.co.in::5c183e1a-0ec9-4025-9668-b3f7b751ace7" providerId="AD" clId="Web-{855AA476-910E-9286-4F26-D21F5500C37A}" dt="2025-06-17T04:33:45.507" v="78" actId="1076"/>
        <pc:sldMkLst>
          <pc:docMk/>
          <pc:sldMk cId="2809793972" sldId="2147481327"/>
        </pc:sldMkLst>
        <pc:spChg chg="mod">
          <ac:chgData name="Chakravarthy, Praveen (VWITS India I-TF)" userId="S::praveen.chakravarthy@volkswagen.co.in::5c183e1a-0ec9-4025-9668-b3f7b751ace7" providerId="AD" clId="Web-{855AA476-910E-9286-4F26-D21F5500C37A}" dt="2025-06-17T04:03:36.476" v="13" actId="20577"/>
          <ac:spMkLst>
            <pc:docMk/>
            <pc:sldMk cId="2809793972" sldId="2147481327"/>
            <ac:spMk id="11" creationId="{A40DDAA7-1226-3603-23EC-04B2A1E28691}"/>
          </ac:spMkLst>
        </pc:spChg>
        <pc:picChg chg="add mod">
          <ac:chgData name="Chakravarthy, Praveen (VWITS India I-TF)" userId="S::praveen.chakravarthy@volkswagen.co.in::5c183e1a-0ec9-4025-9668-b3f7b751ace7" providerId="AD" clId="Web-{855AA476-910E-9286-4F26-D21F5500C37A}" dt="2025-06-17T04:03:30.710" v="9" actId="1076"/>
          <ac:picMkLst>
            <pc:docMk/>
            <pc:sldMk cId="2809793972" sldId="2147481327"/>
            <ac:picMk id="3" creationId="{D6E9F69B-AE89-3B82-0FF4-AD19FE9C10CF}"/>
          </ac:picMkLst>
        </pc:picChg>
        <pc:picChg chg="add mod">
          <ac:chgData name="Chakravarthy, Praveen (VWITS India I-TF)" userId="S::praveen.chakravarthy@volkswagen.co.in::5c183e1a-0ec9-4025-9668-b3f7b751ace7" providerId="AD" clId="Web-{855AA476-910E-9286-4F26-D21F5500C37A}" dt="2025-06-17T04:22:32.794" v="60" actId="1076"/>
          <ac:picMkLst>
            <pc:docMk/>
            <pc:sldMk cId="2809793972" sldId="2147481327"/>
            <ac:picMk id="14" creationId="{D16F9832-AFD7-4ED2-72BF-3D5767BE5687}"/>
          </ac:picMkLst>
        </pc:picChg>
        <pc:picChg chg="add mod">
          <ac:chgData name="Chakravarthy, Praveen (VWITS India I-TF)" userId="S::praveen.chakravarthy@volkswagen.co.in::5c183e1a-0ec9-4025-9668-b3f7b751ace7" providerId="AD" clId="Web-{855AA476-910E-9286-4F26-D21F5500C37A}" dt="2025-06-17T04:23:20.857" v="62" actId="1076"/>
          <ac:picMkLst>
            <pc:docMk/>
            <pc:sldMk cId="2809793972" sldId="2147481327"/>
            <ac:picMk id="15" creationId="{55CAEC6E-943D-03F1-BE53-A5E082E6078A}"/>
          </ac:picMkLst>
        </pc:picChg>
      </pc:sldChg>
    </pc:docChg>
  </pc:docChgLst>
  <pc:docChgLst>
    <pc:chgData name="Gupta, Nikhil (VWITS India I-GT-F)" userId="S::nikhil.gupta@volkswagen.co.in::d94c4b01-03c4-4a71-84a6-558d9e07e369" providerId="AD" clId="Web-{B01A6341-A3C7-1178-119B-6346F73EA470}"/>
    <pc:docChg chg="addSld delSld modSld modSection">
      <pc:chgData name="Gupta, Nikhil (VWITS India I-GT-F)" userId="S::nikhil.gupta@volkswagen.co.in::d94c4b01-03c4-4a71-84a6-558d9e07e369" providerId="AD" clId="Web-{B01A6341-A3C7-1178-119B-6346F73EA470}" dt="2024-12-03T04:55:57.809" v="7"/>
      <pc:docMkLst>
        <pc:docMk/>
      </pc:docMkLst>
      <pc:sldChg chg="add">
        <pc:chgData name="Gupta, Nikhil (VWITS India I-GT-F)" userId="S::nikhil.gupta@volkswagen.co.in::d94c4b01-03c4-4a71-84a6-558d9e07e369" providerId="AD" clId="Web-{B01A6341-A3C7-1178-119B-6346F73EA470}" dt="2024-12-03T04:55:57.809" v="7"/>
        <pc:sldMkLst>
          <pc:docMk/>
          <pc:sldMk cId="1482798747" sldId="257"/>
        </pc:sldMkLst>
      </pc:sldChg>
      <pc:sldChg chg="modSp add">
        <pc:chgData name="Gupta, Nikhil (VWITS India I-GT-F)" userId="S::nikhil.gupta@volkswagen.co.in::d94c4b01-03c4-4a71-84a6-558d9e07e369" providerId="AD" clId="Web-{B01A6341-A3C7-1178-119B-6346F73EA470}" dt="2024-12-03T04:55:23.480" v="6" actId="20577"/>
        <pc:sldMkLst>
          <pc:docMk/>
          <pc:sldMk cId="2274721727" sldId="2147481233"/>
        </pc:sldMkLst>
      </pc:sldChg>
      <pc:sldChg chg="del">
        <pc:chgData name="Gupta, Nikhil (VWITS India I-GT-F)" userId="S::nikhil.gupta@volkswagen.co.in::d94c4b01-03c4-4a71-84a6-558d9e07e369" providerId="AD" clId="Web-{B01A6341-A3C7-1178-119B-6346F73EA470}" dt="2024-12-03T04:55:02.964" v="1"/>
        <pc:sldMkLst>
          <pc:docMk/>
          <pc:sldMk cId="1769234070" sldId="2147481299"/>
        </pc:sldMkLst>
      </pc:sldChg>
      <pc:sldMasterChg chg="addSldLayout">
        <pc:chgData name="Gupta, Nikhil (VWITS India I-GT-F)" userId="S::nikhil.gupta@volkswagen.co.in::d94c4b01-03c4-4a71-84a6-558d9e07e369" providerId="AD" clId="Web-{B01A6341-A3C7-1178-119B-6346F73EA470}" dt="2024-12-03T04:54:55.214" v="0"/>
        <pc:sldMasterMkLst>
          <pc:docMk/>
          <pc:sldMasterMk cId="317129109" sldId="2147483660"/>
        </pc:sldMasterMkLst>
        <pc:sldLayoutChg chg="add">
          <pc:chgData name="Gupta, Nikhil (VWITS India I-GT-F)" userId="S::nikhil.gupta@volkswagen.co.in::d94c4b01-03c4-4a71-84a6-558d9e07e369" providerId="AD" clId="Web-{B01A6341-A3C7-1178-119B-6346F73EA470}" dt="2024-12-03T04:54:55.214" v="0"/>
          <pc:sldLayoutMkLst>
            <pc:docMk/>
            <pc:sldMasterMk cId="317129109" sldId="2147483660"/>
            <pc:sldLayoutMk cId="1742656133" sldId="2147483816"/>
          </pc:sldLayoutMkLst>
        </pc:sldLayoutChg>
      </pc:sldMasterChg>
    </pc:docChg>
  </pc:docChgLst>
  <pc:docChgLst>
    <pc:chgData name="Chakravarthy, Praveen (VWITS India I-T-F)" userId="S::praveen.chakravarthy@volkswagen.co.in::5c183e1a-0ec9-4025-9668-b3f7b751ace7" providerId="AD" clId="Web-{623A3BF4-494F-B684-81F1-10DF98E1EB32}"/>
    <pc:docChg chg="modSld">
      <pc:chgData name="Chakravarthy, Praveen (VWITS India I-T-F)" userId="S::praveen.chakravarthy@volkswagen.co.in::5c183e1a-0ec9-4025-9668-b3f7b751ace7" providerId="AD" clId="Web-{623A3BF4-494F-B684-81F1-10DF98E1EB32}" dt="2025-04-15T07:04:54.371" v="105"/>
      <pc:docMkLst>
        <pc:docMk/>
      </pc:docMkLst>
      <pc:sldChg chg="modSp">
        <pc:chgData name="Chakravarthy, Praveen (VWITS India I-T-F)" userId="S::praveen.chakravarthy@volkswagen.co.in::5c183e1a-0ec9-4025-9668-b3f7b751ace7" providerId="AD" clId="Web-{623A3BF4-494F-B684-81F1-10DF98E1EB32}" dt="2025-04-15T07:04:54.371" v="105"/>
        <pc:sldMkLst>
          <pc:docMk/>
          <pc:sldMk cId="2395488944" sldId="2147481311"/>
        </pc:sldMkLst>
        <pc:graphicFrameChg chg="mod modGraphic">
          <ac:chgData name="Chakravarthy, Praveen (VWITS India I-T-F)" userId="S::praveen.chakravarthy@volkswagen.co.in::5c183e1a-0ec9-4025-9668-b3f7b751ace7" providerId="AD" clId="Web-{623A3BF4-494F-B684-81F1-10DF98E1EB32}" dt="2025-04-15T07:04:54.371" v="105"/>
          <ac:graphicFrameMkLst>
            <pc:docMk/>
            <pc:sldMk cId="2395488944" sldId="2147481311"/>
            <ac:graphicFrameMk id="14" creationId="{01F4BC91-5B66-CE70-3564-145F58147F0D}"/>
          </ac:graphicFrameMkLst>
        </pc:graphicFrameChg>
      </pc:sldChg>
    </pc:docChg>
  </pc:docChgLst>
  <pc:docChgLst>
    <pc:chgData name="Gupta, Nikhil (VWITS India I-TF)" userId="d94c4b01-03c4-4a71-84a6-558d9e07e369" providerId="ADAL" clId="{582A4924-74FC-4C66-95DA-8F1C267CE55C}"/>
    <pc:docChg chg="undo custSel addSld delSld modSld sldOrd modMainMaster modSection">
      <pc:chgData name="Gupta, Nikhil (VWITS India I-TF)" userId="d94c4b01-03c4-4a71-84a6-558d9e07e369" providerId="ADAL" clId="{582A4924-74FC-4C66-95DA-8F1C267CE55C}" dt="2025-06-17T11:14:15.152" v="1707" actId="20577"/>
      <pc:docMkLst>
        <pc:docMk/>
      </pc:docMkLst>
      <pc:sldChg chg="ord">
        <pc:chgData name="Gupta, Nikhil (VWITS India I-TF)" userId="d94c4b01-03c4-4a71-84a6-558d9e07e369" providerId="ADAL" clId="{582A4924-74FC-4C66-95DA-8F1C267CE55C}" dt="2025-06-16T11:23:16.365" v="735"/>
        <pc:sldMkLst>
          <pc:docMk/>
          <pc:sldMk cId="4145606023" sldId="2147481102"/>
        </pc:sldMkLst>
      </pc:sldChg>
      <pc:sldChg chg="addSp delSp modSp mod">
        <pc:chgData name="Gupta, Nikhil (VWITS India I-TF)" userId="d94c4b01-03c4-4a71-84a6-558d9e07e369" providerId="ADAL" clId="{582A4924-74FC-4C66-95DA-8F1C267CE55C}" dt="2025-06-16T11:30:42.784" v="749" actId="1076"/>
        <pc:sldMkLst>
          <pc:docMk/>
          <pc:sldMk cId="4002660323" sldId="2147481199"/>
        </pc:sldMkLst>
        <pc:picChg chg="add mod">
          <ac:chgData name="Gupta, Nikhil (VWITS India I-TF)" userId="d94c4b01-03c4-4a71-84a6-558d9e07e369" providerId="ADAL" clId="{582A4924-74FC-4C66-95DA-8F1C267CE55C}" dt="2025-06-16T11:30:42.784" v="749" actId="1076"/>
          <ac:picMkLst>
            <pc:docMk/>
            <pc:sldMk cId="4002660323" sldId="2147481199"/>
            <ac:picMk id="6" creationId="{5648A299-8601-9DD3-D43B-06B521B773A2}"/>
          </ac:picMkLst>
        </pc:picChg>
      </pc:sldChg>
      <pc:sldChg chg="delSp modSp mod">
        <pc:chgData name="Gupta, Nikhil (VWITS India I-TF)" userId="d94c4b01-03c4-4a71-84a6-558d9e07e369" providerId="ADAL" clId="{582A4924-74FC-4C66-95DA-8F1C267CE55C}" dt="2025-06-17T11:14:15.152" v="1707" actId="20577"/>
        <pc:sldMkLst>
          <pc:docMk/>
          <pc:sldMk cId="491906342" sldId="2147481236"/>
        </pc:sldMkLst>
        <pc:spChg chg="mod">
          <ac:chgData name="Gupta, Nikhil (VWITS India I-TF)" userId="d94c4b01-03c4-4a71-84a6-558d9e07e369" providerId="ADAL" clId="{582A4924-74FC-4C66-95DA-8F1C267CE55C}" dt="2025-06-17T11:14:15.152" v="1707" actId="20577"/>
          <ac:spMkLst>
            <pc:docMk/>
            <pc:sldMk cId="491906342" sldId="2147481236"/>
            <ac:spMk id="2" creationId="{C881C178-76DC-E091-FD83-36C729E73F9A}"/>
          </ac:spMkLst>
        </pc:spChg>
      </pc:sldChg>
      <pc:sldChg chg="delSp mod ord">
        <pc:chgData name="Gupta, Nikhil (VWITS India I-TF)" userId="d94c4b01-03c4-4a71-84a6-558d9e07e369" providerId="ADAL" clId="{582A4924-74FC-4C66-95DA-8F1C267CE55C}" dt="2025-06-16T11:36:48.645" v="775" actId="478"/>
        <pc:sldMkLst>
          <pc:docMk/>
          <pc:sldMk cId="3224003670" sldId="2147481239"/>
        </pc:sldMkLst>
      </pc:sldChg>
      <pc:sldChg chg="delSp mod">
        <pc:chgData name="Gupta, Nikhil (VWITS India I-TF)" userId="d94c4b01-03c4-4a71-84a6-558d9e07e369" providerId="ADAL" clId="{582A4924-74FC-4C66-95DA-8F1C267CE55C}" dt="2025-06-16T11:37:07.215" v="782" actId="478"/>
        <pc:sldMkLst>
          <pc:docMk/>
          <pc:sldMk cId="3595425842" sldId="2147481272"/>
        </pc:sldMkLst>
      </pc:sldChg>
      <pc:sldChg chg="delSp mod">
        <pc:chgData name="Gupta, Nikhil (VWITS India I-TF)" userId="d94c4b01-03c4-4a71-84a6-558d9e07e369" providerId="ADAL" clId="{582A4924-74FC-4C66-95DA-8F1C267CE55C}" dt="2025-06-16T11:37:02.143" v="780" actId="478"/>
        <pc:sldMkLst>
          <pc:docMk/>
          <pc:sldMk cId="3634853704" sldId="2147481292"/>
        </pc:sldMkLst>
      </pc:sldChg>
      <pc:sldChg chg="delSp mod">
        <pc:chgData name="Gupta, Nikhil (VWITS India I-TF)" userId="d94c4b01-03c4-4a71-84a6-558d9e07e369" providerId="ADAL" clId="{582A4924-74FC-4C66-95DA-8F1C267CE55C}" dt="2025-06-16T11:37:04.921" v="781" actId="478"/>
        <pc:sldMkLst>
          <pc:docMk/>
          <pc:sldMk cId="4174817567" sldId="2147481307"/>
        </pc:sldMkLst>
      </pc:sldChg>
      <pc:sldChg chg="delSp mod">
        <pc:chgData name="Gupta, Nikhil (VWITS India I-TF)" userId="d94c4b01-03c4-4a71-84a6-558d9e07e369" providerId="ADAL" clId="{582A4924-74FC-4C66-95DA-8F1C267CE55C}" dt="2025-06-16T11:36:54.346" v="777" actId="478"/>
        <pc:sldMkLst>
          <pc:docMk/>
          <pc:sldMk cId="2117917660" sldId="2147481308"/>
        </pc:sldMkLst>
      </pc:sldChg>
      <pc:sldChg chg="addSp delSp modSp mod ord">
        <pc:chgData name="Gupta, Nikhil (VWITS India I-TF)" userId="d94c4b01-03c4-4a71-84a6-558d9e07e369" providerId="ADAL" clId="{582A4924-74FC-4C66-95DA-8F1C267CE55C}" dt="2025-06-17T05:28:13.720" v="1599" actId="20577"/>
        <pc:sldMkLst>
          <pc:docMk/>
          <pc:sldMk cId="1719958439" sldId="2147481309"/>
        </pc:sldMkLst>
        <pc:spChg chg="mod">
          <ac:chgData name="Gupta, Nikhil (VWITS India I-TF)" userId="d94c4b01-03c4-4a71-84a6-558d9e07e369" providerId="ADAL" clId="{582A4924-74FC-4C66-95DA-8F1C267CE55C}" dt="2025-06-17T05:20:54.749" v="1420" actId="1076"/>
          <ac:spMkLst>
            <pc:docMk/>
            <pc:sldMk cId="1719958439" sldId="2147481309"/>
            <ac:spMk id="3" creationId="{F78546B5-9B02-875C-6900-F4626B538F8A}"/>
          </ac:spMkLst>
        </pc:spChg>
        <pc:spChg chg="mod">
          <ac:chgData name="Gupta, Nikhil (VWITS India I-TF)" userId="d94c4b01-03c4-4a71-84a6-558d9e07e369" providerId="ADAL" clId="{582A4924-74FC-4C66-95DA-8F1C267CE55C}" dt="2025-06-17T05:20:54.749" v="1420" actId="1076"/>
          <ac:spMkLst>
            <pc:docMk/>
            <pc:sldMk cId="1719958439" sldId="2147481309"/>
            <ac:spMk id="4" creationId="{95CBAF10-A963-035D-321F-532867400597}"/>
          </ac:spMkLst>
        </pc:spChg>
        <pc:spChg chg="mod">
          <ac:chgData name="Gupta, Nikhil (VWITS India I-TF)" userId="d94c4b01-03c4-4a71-84a6-558d9e07e369" providerId="ADAL" clId="{582A4924-74FC-4C66-95DA-8F1C267CE55C}" dt="2025-06-17T05:20:58.806" v="1421" actId="1076"/>
          <ac:spMkLst>
            <pc:docMk/>
            <pc:sldMk cId="1719958439" sldId="2147481309"/>
            <ac:spMk id="7" creationId="{06ECC2FF-A1C1-FFB1-271E-97C3C21B350B}"/>
          </ac:spMkLst>
        </pc:spChg>
        <pc:graphicFrameChg chg="mod modGraphic">
          <ac:chgData name="Gupta, Nikhil (VWITS India I-TF)" userId="d94c4b01-03c4-4a71-84a6-558d9e07e369" providerId="ADAL" clId="{582A4924-74FC-4C66-95DA-8F1C267CE55C}" dt="2025-06-17T05:23:36.752" v="1595" actId="20577"/>
          <ac:graphicFrameMkLst>
            <pc:docMk/>
            <pc:sldMk cId="1719958439" sldId="2147481309"/>
            <ac:graphicFrameMk id="14" creationId="{4FB936CE-A19A-57AE-2AD9-0AC7D49B69F9}"/>
          </ac:graphicFrameMkLst>
        </pc:graphicFrameChg>
      </pc:sldChg>
      <pc:sldChg chg="addSp delSp modSp mod ord">
        <pc:chgData name="Gupta, Nikhil (VWITS India I-TF)" userId="d94c4b01-03c4-4a71-84a6-558d9e07e369" providerId="ADAL" clId="{582A4924-74FC-4C66-95DA-8F1C267CE55C}" dt="2025-06-16T11:33:43.087" v="764" actId="1076"/>
        <pc:sldMkLst>
          <pc:docMk/>
          <pc:sldMk cId="2395488944" sldId="2147481311"/>
        </pc:sldMkLst>
      </pc:sldChg>
      <pc:sldChg chg="delSp mod">
        <pc:chgData name="Gupta, Nikhil (VWITS India I-TF)" userId="d94c4b01-03c4-4a71-84a6-558d9e07e369" providerId="ADAL" clId="{582A4924-74FC-4C66-95DA-8F1C267CE55C}" dt="2025-06-16T11:36:59.445" v="779" actId="478"/>
        <pc:sldMkLst>
          <pc:docMk/>
          <pc:sldMk cId="1290562163" sldId="2147481312"/>
        </pc:sldMkLst>
      </pc:sldChg>
      <pc:sldChg chg="delSp mod">
        <pc:chgData name="Gupta, Nikhil (VWITS India I-TF)" userId="d94c4b01-03c4-4a71-84a6-558d9e07e369" providerId="ADAL" clId="{582A4924-74FC-4C66-95DA-8F1C267CE55C}" dt="2025-06-16T11:36:50.777" v="776" actId="478"/>
        <pc:sldMkLst>
          <pc:docMk/>
          <pc:sldMk cId="468884632" sldId="2147481313"/>
        </pc:sldMkLst>
      </pc:sldChg>
      <pc:sldChg chg="delSp mod">
        <pc:chgData name="Gupta, Nikhil (VWITS India I-TF)" userId="d94c4b01-03c4-4a71-84a6-558d9e07e369" providerId="ADAL" clId="{582A4924-74FC-4C66-95DA-8F1C267CE55C}" dt="2025-06-16T11:36:56.820" v="778" actId="478"/>
        <pc:sldMkLst>
          <pc:docMk/>
          <pc:sldMk cId="4095665259" sldId="2147481314"/>
        </pc:sldMkLst>
      </pc:sldChg>
      <pc:sldChg chg="new del">
        <pc:chgData name="Gupta, Nikhil (VWITS India I-TF)" userId="d94c4b01-03c4-4a71-84a6-558d9e07e369" providerId="ADAL" clId="{582A4924-74FC-4C66-95DA-8F1C267CE55C}" dt="2025-06-16T11:11:57.973" v="424" actId="47"/>
        <pc:sldMkLst>
          <pc:docMk/>
          <pc:sldMk cId="1559190121" sldId="2147481315"/>
        </pc:sldMkLst>
      </pc:sldChg>
      <pc:sldChg chg="addSp delSp modSp add mod">
        <pc:chgData name="Gupta, Nikhil (VWITS India I-TF)" userId="d94c4b01-03c4-4a71-84a6-558d9e07e369" providerId="ADAL" clId="{582A4924-74FC-4C66-95DA-8F1C267CE55C}" dt="2025-06-17T05:19:36.712" v="1416" actId="478"/>
        <pc:sldMkLst>
          <pc:docMk/>
          <pc:sldMk cId="877128312" sldId="2147481316"/>
        </pc:sldMkLst>
        <pc:spChg chg="mod">
          <ac:chgData name="Gupta, Nikhil (VWITS India I-TF)" userId="d94c4b01-03c4-4a71-84a6-558d9e07e369" providerId="ADAL" clId="{582A4924-74FC-4C66-95DA-8F1C267CE55C}" dt="2025-06-16T11:12:50.540" v="464" actId="20577"/>
          <ac:spMkLst>
            <pc:docMk/>
            <pc:sldMk cId="877128312" sldId="2147481316"/>
            <ac:spMk id="11" creationId="{B6769BC2-EBAB-7CC0-720C-4E9BF7AF8BE2}"/>
          </ac:spMkLst>
        </pc:spChg>
        <pc:graphicFrameChg chg="add mod modGraphic">
          <ac:chgData name="Gupta, Nikhil (VWITS India I-TF)" userId="d94c4b01-03c4-4a71-84a6-558d9e07e369" providerId="ADAL" clId="{582A4924-74FC-4C66-95DA-8F1C267CE55C}" dt="2025-06-17T05:19:22.699" v="1415" actId="2165"/>
          <ac:graphicFrameMkLst>
            <pc:docMk/>
            <pc:sldMk cId="877128312" sldId="2147481316"/>
            <ac:graphicFrameMk id="2" creationId="{BF1D2B3E-1A67-9309-21F4-A29EA3A96F30}"/>
          </ac:graphicFrameMkLst>
        </pc:graphicFrameChg>
      </pc:sldChg>
      <pc:sldChg chg="delSp modSp new mod">
        <pc:chgData name="Gupta, Nikhil (VWITS India I-TF)" userId="d94c4b01-03c4-4a71-84a6-558d9e07e369" providerId="ADAL" clId="{582A4924-74FC-4C66-95DA-8F1C267CE55C}" dt="2025-06-16T11:12:44.077" v="455" actId="20577"/>
        <pc:sldMkLst>
          <pc:docMk/>
          <pc:sldMk cId="1559928798" sldId="2147481317"/>
        </pc:sldMkLst>
        <pc:spChg chg="mod">
          <ac:chgData name="Gupta, Nikhil (VWITS India I-TF)" userId="d94c4b01-03c4-4a71-84a6-558d9e07e369" providerId="ADAL" clId="{582A4924-74FC-4C66-95DA-8F1C267CE55C}" dt="2025-06-16T11:12:44.077" v="455" actId="20577"/>
          <ac:spMkLst>
            <pc:docMk/>
            <pc:sldMk cId="1559928798" sldId="2147481317"/>
            <ac:spMk id="5" creationId="{5C10C7D0-E360-E1F9-516F-B5F37E96928C}"/>
          </ac:spMkLst>
        </pc:spChg>
      </pc:sldChg>
      <pc:sldChg chg="new del">
        <pc:chgData name="Gupta, Nikhil (VWITS India I-TF)" userId="d94c4b01-03c4-4a71-84a6-558d9e07e369" providerId="ADAL" clId="{582A4924-74FC-4C66-95DA-8F1C267CE55C}" dt="2025-06-16T11:13:07.220" v="467" actId="47"/>
        <pc:sldMkLst>
          <pc:docMk/>
          <pc:sldMk cId="1311717565" sldId="2147481318"/>
        </pc:sldMkLst>
      </pc:sldChg>
      <pc:sldChg chg="addSp delSp modSp add mod">
        <pc:chgData name="Gupta, Nikhil (VWITS India I-TF)" userId="d94c4b01-03c4-4a71-84a6-558d9e07e369" providerId="ADAL" clId="{582A4924-74FC-4C66-95DA-8F1C267CE55C}" dt="2025-06-17T05:25:51.647" v="1597" actId="478"/>
        <pc:sldMkLst>
          <pc:docMk/>
          <pc:sldMk cId="3071219425" sldId="2147481319"/>
        </pc:sldMkLst>
      </pc:sldChg>
      <pc:sldChg chg="modSp add mod">
        <pc:chgData name="Gupta, Nikhil (VWITS India I-TF)" userId="d94c4b01-03c4-4a71-84a6-558d9e07e369" providerId="ADAL" clId="{582A4924-74FC-4C66-95DA-8F1C267CE55C}" dt="2025-06-16T11:15:18.507" v="522" actId="20577"/>
        <pc:sldMkLst>
          <pc:docMk/>
          <pc:sldMk cId="339756474" sldId="2147481320"/>
        </pc:sldMkLst>
        <pc:spChg chg="mod">
          <ac:chgData name="Gupta, Nikhil (VWITS India I-TF)" userId="d94c4b01-03c4-4a71-84a6-558d9e07e369" providerId="ADAL" clId="{582A4924-74FC-4C66-95DA-8F1C267CE55C}" dt="2025-06-16T11:15:18.507" v="522" actId="20577"/>
          <ac:spMkLst>
            <pc:docMk/>
            <pc:sldMk cId="339756474" sldId="2147481320"/>
            <ac:spMk id="5" creationId="{AD879B09-BAF1-E51C-6983-C64780243E59}"/>
          </ac:spMkLst>
        </pc:spChg>
      </pc:sldChg>
      <pc:sldChg chg="modSp add mod ord">
        <pc:chgData name="Gupta, Nikhil (VWITS India I-TF)" userId="d94c4b01-03c4-4a71-84a6-558d9e07e369" providerId="ADAL" clId="{582A4924-74FC-4C66-95DA-8F1C267CE55C}" dt="2025-06-17T08:42:30.520" v="1696"/>
        <pc:sldMkLst>
          <pc:docMk/>
          <pc:sldMk cId="3076233993" sldId="2147481321"/>
        </pc:sldMkLst>
        <pc:spChg chg="mod">
          <ac:chgData name="Gupta, Nikhil (VWITS India I-TF)" userId="d94c4b01-03c4-4a71-84a6-558d9e07e369" providerId="ADAL" clId="{582A4924-74FC-4C66-95DA-8F1C267CE55C}" dt="2025-06-16T11:18:11.196" v="590" actId="20577"/>
          <ac:spMkLst>
            <pc:docMk/>
            <pc:sldMk cId="3076233993" sldId="2147481321"/>
            <ac:spMk id="5" creationId="{EEFD3B12-6BF2-6A29-F61A-D879ABA4FAEC}"/>
          </ac:spMkLst>
        </pc:spChg>
      </pc:sldChg>
      <pc:sldChg chg="delSp modSp add mod ord">
        <pc:chgData name="Gupta, Nikhil (VWITS India I-TF)" userId="d94c4b01-03c4-4a71-84a6-558d9e07e369" providerId="ADAL" clId="{582A4924-74FC-4C66-95DA-8F1C267CE55C}" dt="2025-06-17T09:29:11.958" v="1703" actId="478"/>
        <pc:sldMkLst>
          <pc:docMk/>
          <pc:sldMk cId="1117642453" sldId="2147481322"/>
        </pc:sldMkLst>
        <pc:spChg chg="mod">
          <ac:chgData name="Gupta, Nikhil (VWITS India I-TF)" userId="d94c4b01-03c4-4a71-84a6-558d9e07e369" providerId="ADAL" clId="{582A4924-74FC-4C66-95DA-8F1C267CE55C}" dt="2025-06-16T11:18:33.476" v="604" actId="20577"/>
          <ac:spMkLst>
            <pc:docMk/>
            <pc:sldMk cId="1117642453" sldId="2147481322"/>
            <ac:spMk id="11" creationId="{4DEB9CA8-C88A-6029-8B1C-53C62B1F43B3}"/>
          </ac:spMkLst>
        </pc:spChg>
      </pc:sldChg>
      <pc:sldChg chg="modSp add mod ord">
        <pc:chgData name="Gupta, Nikhil (VWITS India I-TF)" userId="d94c4b01-03c4-4a71-84a6-558d9e07e369" providerId="ADAL" clId="{582A4924-74FC-4C66-95DA-8F1C267CE55C}" dt="2025-06-17T08:42:14.310" v="1694"/>
        <pc:sldMkLst>
          <pc:docMk/>
          <pc:sldMk cId="1305830977" sldId="2147481323"/>
        </pc:sldMkLst>
        <pc:spChg chg="mod">
          <ac:chgData name="Gupta, Nikhil (VWITS India I-TF)" userId="d94c4b01-03c4-4a71-84a6-558d9e07e369" providerId="ADAL" clId="{582A4924-74FC-4C66-95DA-8F1C267CE55C}" dt="2025-06-16T11:19:14.424" v="627" actId="20577"/>
          <ac:spMkLst>
            <pc:docMk/>
            <pc:sldMk cId="1305830977" sldId="2147481323"/>
            <ac:spMk id="5" creationId="{53C2CA74-B98B-FCA0-E379-5522EF9370E4}"/>
          </ac:spMkLst>
        </pc:spChg>
      </pc:sldChg>
      <pc:sldChg chg="addSp delSp modSp add mod ord">
        <pc:chgData name="Gupta, Nikhil (VWITS India I-TF)" userId="d94c4b01-03c4-4a71-84a6-558d9e07e369" providerId="ADAL" clId="{582A4924-74FC-4C66-95DA-8F1C267CE55C}" dt="2025-06-17T08:42:14.310" v="1694"/>
        <pc:sldMkLst>
          <pc:docMk/>
          <pc:sldMk cId="2458987541" sldId="2147481324"/>
        </pc:sldMkLst>
        <pc:spChg chg="add mod">
          <ac:chgData name="Gupta, Nikhil (VWITS India I-TF)" userId="d94c4b01-03c4-4a71-84a6-558d9e07e369" providerId="ADAL" clId="{582A4924-74FC-4C66-95DA-8F1C267CE55C}" dt="2025-06-17T05:32:06.485" v="1627" actId="1036"/>
          <ac:spMkLst>
            <pc:docMk/>
            <pc:sldMk cId="2458987541" sldId="2147481324"/>
            <ac:spMk id="9" creationId="{B360EFBC-7555-72B8-6DE2-1397C8BBCDF4}"/>
          </ac:spMkLst>
        </pc:spChg>
        <pc:spChg chg="add mod">
          <ac:chgData name="Gupta, Nikhil (VWITS India I-TF)" userId="d94c4b01-03c4-4a71-84a6-558d9e07e369" providerId="ADAL" clId="{582A4924-74FC-4C66-95DA-8F1C267CE55C}" dt="2025-06-17T05:32:06.485" v="1627" actId="1036"/>
          <ac:spMkLst>
            <pc:docMk/>
            <pc:sldMk cId="2458987541" sldId="2147481324"/>
            <ac:spMk id="10" creationId="{DAE3A6C0-5B7F-62E0-822C-A3772E1980F0}"/>
          </ac:spMkLst>
        </pc:spChg>
        <pc:spChg chg="mod">
          <ac:chgData name="Gupta, Nikhil (VWITS India I-TF)" userId="d94c4b01-03c4-4a71-84a6-558d9e07e369" providerId="ADAL" clId="{582A4924-74FC-4C66-95DA-8F1C267CE55C}" dt="2025-06-17T06:37:57.934" v="1656" actId="20577"/>
          <ac:spMkLst>
            <pc:docMk/>
            <pc:sldMk cId="2458987541" sldId="2147481324"/>
            <ac:spMk id="11" creationId="{B991B80C-5C63-2CF7-5EA1-E04B5B099AE4}"/>
          </ac:spMkLst>
        </pc:spChg>
        <pc:spChg chg="add mod">
          <ac:chgData name="Gupta, Nikhil (VWITS India I-TF)" userId="d94c4b01-03c4-4a71-84a6-558d9e07e369" providerId="ADAL" clId="{582A4924-74FC-4C66-95DA-8F1C267CE55C}" dt="2025-06-17T05:32:06.485" v="1627" actId="1036"/>
          <ac:spMkLst>
            <pc:docMk/>
            <pc:sldMk cId="2458987541" sldId="2147481324"/>
            <ac:spMk id="12" creationId="{5CD522D7-7C0C-C0A7-25B8-85B0DDF223E8}"/>
          </ac:spMkLst>
        </pc:spChg>
        <pc:spChg chg="add mod">
          <ac:chgData name="Gupta, Nikhil (VWITS India I-TF)" userId="d94c4b01-03c4-4a71-84a6-558d9e07e369" providerId="ADAL" clId="{582A4924-74FC-4C66-95DA-8F1C267CE55C}" dt="2025-06-17T05:32:06.485" v="1627" actId="1036"/>
          <ac:spMkLst>
            <pc:docMk/>
            <pc:sldMk cId="2458987541" sldId="2147481324"/>
            <ac:spMk id="26" creationId="{9308F68E-7D37-197D-9422-57D5AF30474C}"/>
          </ac:spMkLst>
        </pc:spChg>
        <pc:spChg chg="add mod">
          <ac:chgData name="Gupta, Nikhil (VWITS India I-TF)" userId="d94c4b01-03c4-4a71-84a6-558d9e07e369" providerId="ADAL" clId="{582A4924-74FC-4C66-95DA-8F1C267CE55C}" dt="2025-06-17T05:32:06.485" v="1627" actId="1036"/>
          <ac:spMkLst>
            <pc:docMk/>
            <pc:sldMk cId="2458987541" sldId="2147481324"/>
            <ac:spMk id="28" creationId="{7946484E-8EFB-1961-15E5-BCF4BBEEC7E6}"/>
          </ac:spMkLst>
        </pc:spChg>
        <pc:spChg chg="add mod">
          <ac:chgData name="Gupta, Nikhil (VWITS India I-TF)" userId="d94c4b01-03c4-4a71-84a6-558d9e07e369" providerId="ADAL" clId="{582A4924-74FC-4C66-95DA-8F1C267CE55C}" dt="2025-06-17T05:32:47.680" v="1632" actId="14100"/>
          <ac:spMkLst>
            <pc:docMk/>
            <pc:sldMk cId="2458987541" sldId="2147481324"/>
            <ac:spMk id="32" creationId="{90974F90-FB56-63F6-08EB-3A1B3042F080}"/>
          </ac:spMkLst>
        </pc:spChg>
        <pc:spChg chg="add mod">
          <ac:chgData name="Gupta, Nikhil (VWITS India I-TF)" userId="d94c4b01-03c4-4a71-84a6-558d9e07e369" providerId="ADAL" clId="{582A4924-74FC-4C66-95DA-8F1C267CE55C}" dt="2025-06-17T05:32:36.998" v="1630" actId="207"/>
          <ac:spMkLst>
            <pc:docMk/>
            <pc:sldMk cId="2458987541" sldId="2147481324"/>
            <ac:spMk id="33" creationId="{28A93CD7-78FF-6B44-1DCD-C259721D8C90}"/>
          </ac:spMkLst>
        </pc:spChg>
        <pc:spChg chg="mod">
          <ac:chgData name="Gupta, Nikhil (VWITS India I-TF)" userId="d94c4b01-03c4-4a71-84a6-558d9e07e369" providerId="ADAL" clId="{582A4924-74FC-4C66-95DA-8F1C267CE55C}" dt="2025-06-17T05:31:53.040" v="1600"/>
          <ac:spMkLst>
            <pc:docMk/>
            <pc:sldMk cId="2458987541" sldId="2147481324"/>
            <ac:spMk id="42" creationId="{B61946AC-FC34-82E6-903C-3488EEB2129A}"/>
          </ac:spMkLst>
        </pc:spChg>
        <pc:spChg chg="add mod">
          <ac:chgData name="Gupta, Nikhil (VWITS India I-TF)" userId="d94c4b01-03c4-4a71-84a6-558d9e07e369" providerId="ADAL" clId="{582A4924-74FC-4C66-95DA-8F1C267CE55C}" dt="2025-06-17T05:32:06.485" v="1627" actId="1036"/>
          <ac:spMkLst>
            <pc:docMk/>
            <pc:sldMk cId="2458987541" sldId="2147481324"/>
            <ac:spMk id="49" creationId="{43AE5B51-5842-6CFC-DF05-8267590C28D9}"/>
          </ac:spMkLst>
        </pc:spChg>
        <pc:spChg chg="add mod">
          <ac:chgData name="Gupta, Nikhil (VWITS India I-TF)" userId="d94c4b01-03c4-4a71-84a6-558d9e07e369" providerId="ADAL" clId="{582A4924-74FC-4C66-95DA-8F1C267CE55C}" dt="2025-06-17T05:32:06.485" v="1627" actId="1036"/>
          <ac:spMkLst>
            <pc:docMk/>
            <pc:sldMk cId="2458987541" sldId="2147481324"/>
            <ac:spMk id="51" creationId="{C54EEC54-4E43-81EC-E269-CF1C17CCD795}"/>
          </ac:spMkLst>
        </pc:spChg>
        <pc:spChg chg="mod">
          <ac:chgData name="Gupta, Nikhil (VWITS India I-TF)" userId="d94c4b01-03c4-4a71-84a6-558d9e07e369" providerId="ADAL" clId="{582A4924-74FC-4C66-95DA-8F1C267CE55C}" dt="2025-06-17T05:32:14.784" v="1628" actId="14100"/>
          <ac:spMkLst>
            <pc:docMk/>
            <pc:sldMk cId="2458987541" sldId="2147481324"/>
            <ac:spMk id="54" creationId="{A0B2F620-BE88-D02D-DB88-290416C601E0}"/>
          </ac:spMkLst>
        </pc:spChg>
        <pc:spChg chg="mod">
          <ac:chgData name="Gupta, Nikhil (VWITS India I-TF)" userId="d94c4b01-03c4-4a71-84a6-558d9e07e369" providerId="ADAL" clId="{582A4924-74FC-4C66-95DA-8F1C267CE55C}" dt="2025-06-17T05:32:06.485" v="1627" actId="1036"/>
          <ac:spMkLst>
            <pc:docMk/>
            <pc:sldMk cId="2458987541" sldId="2147481324"/>
            <ac:spMk id="56" creationId="{76D0FE15-829C-B8E8-3142-27E5910014F1}"/>
          </ac:spMkLst>
        </pc:spChg>
        <pc:spChg chg="mod">
          <ac:chgData name="Gupta, Nikhil (VWITS India I-TF)" userId="d94c4b01-03c4-4a71-84a6-558d9e07e369" providerId="ADAL" clId="{582A4924-74FC-4C66-95DA-8F1C267CE55C}" dt="2025-06-17T05:32:24.861" v="1629" actId="207"/>
          <ac:spMkLst>
            <pc:docMk/>
            <pc:sldMk cId="2458987541" sldId="2147481324"/>
            <ac:spMk id="58" creationId="{4054586C-2F13-93EF-95FA-5D840AEF8539}"/>
          </ac:spMkLst>
        </pc:spChg>
      </pc:sldChg>
      <pc:sldChg chg="delSp modSp add mod">
        <pc:chgData name="Gupta, Nikhil (VWITS India I-TF)" userId="d94c4b01-03c4-4a71-84a6-558d9e07e369" providerId="ADAL" clId="{582A4924-74FC-4C66-95DA-8F1C267CE55C}" dt="2025-06-16T11:34:07.375" v="772" actId="1076"/>
        <pc:sldMkLst>
          <pc:docMk/>
          <pc:sldMk cId="3203616272" sldId="2147481325"/>
        </pc:sldMkLst>
      </pc:sldChg>
      <pc:sldChg chg="modSp add mod ord">
        <pc:chgData name="Gupta, Nikhil (VWITS India I-TF)" userId="d94c4b01-03c4-4a71-84a6-558d9e07e369" providerId="ADAL" clId="{582A4924-74FC-4C66-95DA-8F1C267CE55C}" dt="2025-06-17T09:29:30.396" v="1705"/>
        <pc:sldMkLst>
          <pc:docMk/>
          <pc:sldMk cId="1425241259" sldId="2147481326"/>
        </pc:sldMkLst>
        <pc:spChg chg="mod">
          <ac:chgData name="Gupta, Nikhil (VWITS India I-TF)" userId="d94c4b01-03c4-4a71-84a6-558d9e07e369" providerId="ADAL" clId="{582A4924-74FC-4C66-95DA-8F1C267CE55C}" dt="2025-06-16T11:21:10.584" v="700" actId="20577"/>
          <ac:spMkLst>
            <pc:docMk/>
            <pc:sldMk cId="1425241259" sldId="2147481326"/>
            <ac:spMk id="5" creationId="{4207A276-58DF-7C04-D24F-CC2A576E8A0C}"/>
          </ac:spMkLst>
        </pc:spChg>
      </pc:sldChg>
      <pc:sldChg chg="delSp modSp add mod ord">
        <pc:chgData name="Gupta, Nikhil (VWITS India I-TF)" userId="d94c4b01-03c4-4a71-84a6-558d9e07e369" providerId="ADAL" clId="{582A4924-74FC-4C66-95DA-8F1C267CE55C}" dt="2025-06-17T09:29:43.607" v="1706" actId="478"/>
        <pc:sldMkLst>
          <pc:docMk/>
          <pc:sldMk cId="2809793972" sldId="2147481327"/>
        </pc:sldMkLst>
        <pc:spChg chg="mod">
          <ac:chgData name="Gupta, Nikhil (VWITS India I-TF)" userId="d94c4b01-03c4-4a71-84a6-558d9e07e369" providerId="ADAL" clId="{582A4924-74FC-4C66-95DA-8F1C267CE55C}" dt="2025-06-16T11:23:03.824" v="733" actId="20577"/>
          <ac:spMkLst>
            <pc:docMk/>
            <pc:sldMk cId="2809793972" sldId="2147481327"/>
            <ac:spMk id="11" creationId="{A40DDAA7-1226-3603-23EC-04B2A1E28691}"/>
          </ac:spMkLst>
        </pc:spChg>
      </pc:sldChg>
      <pc:sldChg chg="modSp add mod ord">
        <pc:chgData name="Gupta, Nikhil (VWITS India I-TF)" userId="d94c4b01-03c4-4a71-84a6-558d9e07e369" providerId="ADAL" clId="{582A4924-74FC-4C66-95DA-8F1C267CE55C}" dt="2025-06-16T11:23:25.225" v="744" actId="20577"/>
        <pc:sldMkLst>
          <pc:docMk/>
          <pc:sldMk cId="748660010" sldId="2147481328"/>
        </pc:sldMkLst>
        <pc:spChg chg="mod">
          <ac:chgData name="Gupta, Nikhil (VWITS India I-TF)" userId="d94c4b01-03c4-4a71-84a6-558d9e07e369" providerId="ADAL" clId="{582A4924-74FC-4C66-95DA-8F1C267CE55C}" dt="2025-06-16T11:23:25.225" v="744" actId="20577"/>
          <ac:spMkLst>
            <pc:docMk/>
            <pc:sldMk cId="748660010" sldId="2147481328"/>
            <ac:spMk id="5" creationId="{E683DA7A-C98D-5B64-B95A-8C09A54F0BBC}"/>
          </ac:spMkLst>
        </pc:spChg>
      </pc:sldChg>
      <pc:sldChg chg="ord">
        <pc:chgData name="Gupta, Nikhil (VWITS India I-TF)" userId="d94c4b01-03c4-4a71-84a6-558d9e07e369" providerId="ADAL" clId="{582A4924-74FC-4C66-95DA-8F1C267CE55C}" dt="2025-06-17T08:42:14.310" v="1694"/>
        <pc:sldMkLst>
          <pc:docMk/>
          <pc:sldMk cId="1476470028" sldId="2147481329"/>
        </pc:sldMkLst>
      </pc:sldChg>
      <pc:sldChg chg="addSp delSp modSp add mod ord">
        <pc:chgData name="Gupta, Nikhil (VWITS India I-TF)" userId="d94c4b01-03c4-4a71-84a6-558d9e07e369" providerId="ADAL" clId="{582A4924-74FC-4C66-95DA-8F1C267CE55C}" dt="2025-06-17T08:43:04.302" v="1701" actId="478"/>
        <pc:sldMkLst>
          <pc:docMk/>
          <pc:sldMk cId="3870509309" sldId="2147481330"/>
        </pc:sldMkLst>
        <pc:spChg chg="mod">
          <ac:chgData name="Gupta, Nikhil (VWITS India I-TF)" userId="d94c4b01-03c4-4a71-84a6-558d9e07e369" providerId="ADAL" clId="{582A4924-74FC-4C66-95DA-8F1C267CE55C}" dt="2025-06-17T06:39:15.279" v="1665" actId="1076"/>
          <ac:spMkLst>
            <pc:docMk/>
            <pc:sldMk cId="3870509309" sldId="2147481330"/>
            <ac:spMk id="11" creationId="{90F0C36D-FB8B-CBE1-732B-A647AAF35B92}"/>
          </ac:spMkLst>
        </pc:spChg>
        <pc:spChg chg="add mod">
          <ac:chgData name="Gupta, Nikhil (VWITS India I-TF)" userId="d94c4b01-03c4-4a71-84a6-558d9e07e369" providerId="ADAL" clId="{582A4924-74FC-4C66-95DA-8F1C267CE55C}" dt="2025-06-17T06:39:19.428" v="1666" actId="1076"/>
          <ac:spMkLst>
            <pc:docMk/>
            <pc:sldMk cId="3870509309" sldId="2147481330"/>
            <ac:spMk id="59" creationId="{F0F267DF-7979-A672-F085-444F377532A2}"/>
          </ac:spMkLst>
        </pc:spChg>
        <pc:spChg chg="add mod">
          <ac:chgData name="Gupta, Nikhil (VWITS India I-TF)" userId="d94c4b01-03c4-4a71-84a6-558d9e07e369" providerId="ADAL" clId="{582A4924-74FC-4C66-95DA-8F1C267CE55C}" dt="2025-06-17T06:39:47.044" v="1670" actId="20577"/>
          <ac:spMkLst>
            <pc:docMk/>
            <pc:sldMk cId="3870509309" sldId="2147481330"/>
            <ac:spMk id="60" creationId="{52B1A90C-4A53-F127-508B-1AD8B43AB1DF}"/>
          </ac:spMkLst>
        </pc:spChg>
        <pc:spChg chg="add mod">
          <ac:chgData name="Gupta, Nikhil (VWITS India I-TF)" userId="d94c4b01-03c4-4a71-84a6-558d9e07e369" providerId="ADAL" clId="{582A4924-74FC-4C66-95DA-8F1C267CE55C}" dt="2025-06-17T08:42:57.234" v="1700" actId="1076"/>
          <ac:spMkLst>
            <pc:docMk/>
            <pc:sldMk cId="3870509309" sldId="2147481330"/>
            <ac:spMk id="61" creationId="{105D5A5D-7094-6EA6-24C6-07B2765518C2}"/>
          </ac:spMkLst>
        </pc:spChg>
      </pc:sldChg>
      <pc:sldChg chg="delSp mod">
        <pc:chgData name="Gupta, Nikhil (VWITS India I-TF)" userId="d94c4b01-03c4-4a71-84a6-558d9e07e369" providerId="ADAL" clId="{582A4924-74FC-4C66-95DA-8F1C267CE55C}" dt="2025-06-17T09:25:17.940" v="1702" actId="478"/>
        <pc:sldMkLst>
          <pc:docMk/>
          <pc:sldMk cId="617368122" sldId="2147481331"/>
        </pc:sldMkLst>
      </pc:sldChg>
      <pc:sldMasterChg chg="modSldLayout">
        <pc:chgData name="Gupta, Nikhil (VWITS India I-TF)" userId="d94c4b01-03c4-4a71-84a6-558d9e07e369" providerId="ADAL" clId="{582A4924-74FC-4C66-95DA-8F1C267CE55C}" dt="2025-06-16T11:33:00.184" v="757" actId="1076"/>
        <pc:sldMasterMkLst>
          <pc:docMk/>
          <pc:sldMasterMk cId="317129109" sldId="2147483660"/>
        </pc:sldMasterMkLst>
        <pc:sldLayoutChg chg="addSp modSp mod">
          <pc:chgData name="Gupta, Nikhil (VWITS India I-TF)" userId="d94c4b01-03c4-4a71-84a6-558d9e07e369" providerId="ADAL" clId="{582A4924-74FC-4C66-95DA-8F1C267CE55C}" dt="2025-06-16T11:33:00.184" v="757" actId="1076"/>
          <pc:sldLayoutMkLst>
            <pc:docMk/>
            <pc:sldMasterMk cId="317129109" sldId="2147483660"/>
            <pc:sldLayoutMk cId="2365354440" sldId="2147483680"/>
          </pc:sldLayoutMkLst>
          <pc:picChg chg="add mod">
            <ac:chgData name="Gupta, Nikhil (VWITS India I-TF)" userId="d94c4b01-03c4-4a71-84a6-558d9e07e369" providerId="ADAL" clId="{582A4924-74FC-4C66-95DA-8F1C267CE55C}" dt="2025-06-16T11:33:00.184" v="757" actId="1076"/>
            <ac:picMkLst>
              <pc:docMk/>
              <pc:sldMasterMk cId="317129109" sldId="2147483660"/>
              <pc:sldLayoutMk cId="2365354440" sldId="2147483680"/>
              <ac:picMk id="8" creationId="{36F396C4-F7DA-9E7F-8544-132F47E4F54F}"/>
            </ac:picMkLst>
          </pc:picChg>
        </pc:sldLayoutChg>
      </pc:sldMasterChg>
    </pc:docChg>
  </pc:docChgLst>
  <pc:docChgLst>
    <pc:chgData name="Baher, Yogesh (VWITS India I-GT-F)" userId="b2fca277-e161-4bf7-81ae-9ae9b0dfce87" providerId="ADAL" clId="{D8764039-B79A-43CC-A74F-102AD668746E}"/>
    <pc:docChg chg="undo custSel modSld">
      <pc:chgData name="Baher, Yogesh (VWITS India I-GT-F)" userId="b2fca277-e161-4bf7-81ae-9ae9b0dfce87" providerId="ADAL" clId="{D8764039-B79A-43CC-A74F-102AD668746E}" dt="2025-04-11T06:57:32.983" v="418" actId="20577"/>
      <pc:docMkLst>
        <pc:docMk/>
      </pc:docMkLst>
      <pc:sldChg chg="modSp mod">
        <pc:chgData name="Baher, Yogesh (VWITS India I-GT-F)" userId="b2fca277-e161-4bf7-81ae-9ae9b0dfce87" providerId="ADAL" clId="{D8764039-B79A-43CC-A74F-102AD668746E}" dt="2025-04-11T06:45:06.803" v="307" actId="20577"/>
        <pc:sldMkLst>
          <pc:docMk/>
          <pc:sldMk cId="1719958439" sldId="2147481309"/>
        </pc:sldMkLst>
        <pc:graphicFrameChg chg="mod modGraphic">
          <ac:chgData name="Baher, Yogesh (VWITS India I-GT-F)" userId="b2fca277-e161-4bf7-81ae-9ae9b0dfce87" providerId="ADAL" clId="{D8764039-B79A-43CC-A74F-102AD668746E}" dt="2025-04-11T06:45:06.803" v="307" actId="20577"/>
          <ac:graphicFrameMkLst>
            <pc:docMk/>
            <pc:sldMk cId="1719958439" sldId="2147481309"/>
            <ac:graphicFrameMk id="14" creationId="{4FB936CE-A19A-57AE-2AD9-0AC7D49B69F9}"/>
          </ac:graphicFrameMkLst>
        </pc:graphicFrameChg>
      </pc:sldChg>
      <pc:sldChg chg="modSp mod">
        <pc:chgData name="Baher, Yogesh (VWITS India I-GT-F)" userId="b2fca277-e161-4bf7-81ae-9ae9b0dfce87" providerId="ADAL" clId="{D8764039-B79A-43CC-A74F-102AD668746E}" dt="2025-04-11T06:57:32.983" v="418" actId="20577"/>
        <pc:sldMkLst>
          <pc:docMk/>
          <pc:sldMk cId="2395488944" sldId="2147481311"/>
        </pc:sldMkLst>
        <pc:graphicFrameChg chg="modGraphic">
          <ac:chgData name="Baher, Yogesh (VWITS India I-GT-F)" userId="b2fca277-e161-4bf7-81ae-9ae9b0dfce87" providerId="ADAL" clId="{D8764039-B79A-43CC-A74F-102AD668746E}" dt="2025-04-11T06:57:32.983" v="418" actId="20577"/>
          <ac:graphicFrameMkLst>
            <pc:docMk/>
            <pc:sldMk cId="2395488944" sldId="2147481311"/>
            <ac:graphicFrameMk id="14" creationId="{01F4BC91-5B66-CE70-3564-145F58147F0D}"/>
          </ac:graphicFrameMkLst>
        </pc:graphicFrameChg>
      </pc:sldChg>
    </pc:docChg>
  </pc:docChgLst>
  <pc:docChgLst>
    <pc:chgData name="Chakravarthy, Praveen (VWITS India I-GT-F)" userId="S::praveen.chakravarthy@volkswagen.co.in::5c183e1a-0ec9-4025-9668-b3f7b751ace7" providerId="AD" clId="Web-{3162539F-A3C7-9B96-38F3-8129C94B2EE9}"/>
    <pc:docChg chg="modSld">
      <pc:chgData name="Chakravarthy, Praveen (VWITS India I-GT-F)" userId="S::praveen.chakravarthy@volkswagen.co.in::5c183e1a-0ec9-4025-9668-b3f7b751ace7" providerId="AD" clId="Web-{3162539F-A3C7-9B96-38F3-8129C94B2EE9}" dt="2025-04-12T07:42:45.712" v="58"/>
      <pc:docMkLst>
        <pc:docMk/>
      </pc:docMkLst>
      <pc:sldChg chg="modSp">
        <pc:chgData name="Chakravarthy, Praveen (VWITS India I-GT-F)" userId="S::praveen.chakravarthy@volkswagen.co.in::5c183e1a-0ec9-4025-9668-b3f7b751ace7" providerId="AD" clId="Web-{3162539F-A3C7-9B96-38F3-8129C94B2EE9}" dt="2025-04-12T07:42:45.712" v="58"/>
        <pc:sldMkLst>
          <pc:docMk/>
          <pc:sldMk cId="2395488944" sldId="2147481311"/>
        </pc:sldMkLst>
        <pc:graphicFrameChg chg="mod modGraphic">
          <ac:chgData name="Chakravarthy, Praveen (VWITS India I-GT-F)" userId="S::praveen.chakravarthy@volkswagen.co.in::5c183e1a-0ec9-4025-9668-b3f7b751ace7" providerId="AD" clId="Web-{3162539F-A3C7-9B96-38F3-8129C94B2EE9}" dt="2025-04-12T07:42:45.712" v="58"/>
          <ac:graphicFrameMkLst>
            <pc:docMk/>
            <pc:sldMk cId="2395488944" sldId="2147481311"/>
            <ac:graphicFrameMk id="14" creationId="{01F4BC91-5B66-CE70-3564-145F58147F0D}"/>
          </ac:graphicFrameMkLst>
        </pc:graphicFrameChg>
      </pc:sldChg>
    </pc:docChg>
  </pc:docChgLst>
  <pc:docChgLst>
    <pc:chgData name="Dabas, Sardul (VWITS India I-GT-F)" userId="S::sardul.dabas@volkswagen.co.in::d094f239-3bc7-4353-ac2e-43dc4357f19a" providerId="AD" clId="Web-{AB776545-F1E8-58CB-27FA-7F2AC736D46E}"/>
    <pc:docChg chg="modSld">
      <pc:chgData name="Dabas, Sardul (VWITS India I-GT-F)" userId="S::sardul.dabas@volkswagen.co.in::d094f239-3bc7-4353-ac2e-43dc4357f19a" providerId="AD" clId="Web-{AB776545-F1E8-58CB-27FA-7F2AC736D46E}" dt="2024-12-02T07:32:25.885" v="119"/>
      <pc:docMkLst>
        <pc:docMk/>
      </pc:docMkLst>
      <pc:sldChg chg="modSp">
        <pc:chgData name="Dabas, Sardul (VWITS India I-GT-F)" userId="S::sardul.dabas@volkswagen.co.in::d094f239-3bc7-4353-ac2e-43dc4357f19a" providerId="AD" clId="Web-{AB776545-F1E8-58CB-27FA-7F2AC736D46E}" dt="2024-12-02T07:32:25.885" v="119"/>
        <pc:sldMkLst>
          <pc:docMk/>
          <pc:sldMk cId="3541850536" sldId="2147481301"/>
        </pc:sldMkLst>
      </pc:sldChg>
    </pc:docChg>
  </pc:docChgLst>
  <pc:docChgLst>
    <pc:chgData name="Dabas, Sardul (VWITS India I-GT-F)" userId="S::sardul.dabas@volkswagen.co.in::d094f239-3bc7-4353-ac2e-43dc4357f19a" providerId="AD" clId="Web-{6A5ADECB-BD17-4B90-63B5-1F26E13B9C7C}"/>
    <pc:docChg chg="addSld delSld modSection">
      <pc:chgData name="Dabas, Sardul (VWITS India I-GT-F)" userId="S::sardul.dabas@volkswagen.co.in::d094f239-3bc7-4353-ac2e-43dc4357f19a" providerId="AD" clId="Web-{6A5ADECB-BD17-4B90-63B5-1F26E13B9C7C}" dt="2025-04-11T05:38:15.350" v="1"/>
      <pc:docMkLst>
        <pc:docMk/>
      </pc:docMkLst>
      <pc:sldChg chg="del">
        <pc:chgData name="Dabas, Sardul (VWITS India I-GT-F)" userId="S::sardul.dabas@volkswagen.co.in::d094f239-3bc7-4353-ac2e-43dc4357f19a" providerId="AD" clId="Web-{6A5ADECB-BD17-4B90-63B5-1F26E13B9C7C}" dt="2025-04-11T05:38:15.350" v="1"/>
        <pc:sldMkLst>
          <pc:docMk/>
          <pc:sldMk cId="2617350975" sldId="2147481310"/>
        </pc:sldMkLst>
      </pc:sldChg>
      <pc:sldChg chg="add">
        <pc:chgData name="Dabas, Sardul (VWITS India I-GT-F)" userId="S::sardul.dabas@volkswagen.co.in::d094f239-3bc7-4353-ac2e-43dc4357f19a" providerId="AD" clId="Web-{6A5ADECB-BD17-4B90-63B5-1F26E13B9C7C}" dt="2025-04-11T05:38:01.365" v="0"/>
        <pc:sldMkLst>
          <pc:docMk/>
          <pc:sldMk cId="4095665259" sldId="2147481314"/>
        </pc:sldMkLst>
      </pc:sldChg>
    </pc:docChg>
  </pc:docChgLst>
  <pc:docChgLst>
    <pc:chgData name="Bangad, Dheeraj (VWITS India I-T-F)" userId="3dd76c2d-0b00-432b-bea5-9d30b6b2c755" providerId="ADAL" clId="{6D3C91C1-F3BD-47B2-AD3F-9D409A807435}"/>
    <pc:docChg chg="modSld sldOrd">
      <pc:chgData name="Bangad, Dheeraj (VWITS India I-T-F)" userId="3dd76c2d-0b00-432b-bea5-9d30b6b2c755" providerId="ADAL" clId="{6D3C91C1-F3BD-47B2-AD3F-9D409A807435}" dt="2025-04-15T08:59:58.294" v="26"/>
      <pc:docMkLst>
        <pc:docMk/>
      </pc:docMkLst>
      <pc:sldChg chg="modSp mod">
        <pc:chgData name="Bangad, Dheeraj (VWITS India I-T-F)" userId="3dd76c2d-0b00-432b-bea5-9d30b6b2c755" providerId="ADAL" clId="{6D3C91C1-F3BD-47B2-AD3F-9D409A807435}" dt="2025-04-15T08:59:58.294" v="26"/>
        <pc:sldMkLst>
          <pc:docMk/>
          <pc:sldMk cId="491906342" sldId="2147481236"/>
        </pc:sldMkLst>
        <pc:spChg chg="mod">
          <ac:chgData name="Bangad, Dheeraj (VWITS India I-T-F)" userId="3dd76c2d-0b00-432b-bea5-9d30b6b2c755" providerId="ADAL" clId="{6D3C91C1-F3BD-47B2-AD3F-9D409A807435}" dt="2025-04-15T08:59:58.294" v="26"/>
          <ac:spMkLst>
            <pc:docMk/>
            <pc:sldMk cId="491906342" sldId="2147481236"/>
            <ac:spMk id="2" creationId="{C881C178-76DC-E091-FD83-36C729E73F9A}"/>
          </ac:spMkLst>
        </pc:spChg>
      </pc:sldChg>
      <pc:sldChg chg="ord">
        <pc:chgData name="Bangad, Dheeraj (VWITS India I-T-F)" userId="3dd76c2d-0b00-432b-bea5-9d30b6b2c755" providerId="ADAL" clId="{6D3C91C1-F3BD-47B2-AD3F-9D409A807435}" dt="2025-04-15T08:59:49.676" v="23"/>
        <pc:sldMkLst>
          <pc:docMk/>
          <pc:sldMk cId="3634853704" sldId="2147481292"/>
        </pc:sldMkLst>
      </pc:sldChg>
      <pc:sldChg chg="modSp mod">
        <pc:chgData name="Bangad, Dheeraj (VWITS India I-T-F)" userId="3dd76c2d-0b00-432b-bea5-9d30b6b2c755" providerId="ADAL" clId="{6D3C91C1-F3BD-47B2-AD3F-9D409A807435}" dt="2025-04-15T08:59:00.328" v="2" actId="20577"/>
        <pc:sldMkLst>
          <pc:docMk/>
          <pc:sldMk cId="1719958439" sldId="2147481309"/>
        </pc:sldMkLst>
        <pc:graphicFrameChg chg="modGraphic">
          <ac:chgData name="Bangad, Dheeraj (VWITS India I-T-F)" userId="3dd76c2d-0b00-432b-bea5-9d30b6b2c755" providerId="ADAL" clId="{6D3C91C1-F3BD-47B2-AD3F-9D409A807435}" dt="2025-04-15T08:59:00.328" v="2" actId="20577"/>
          <ac:graphicFrameMkLst>
            <pc:docMk/>
            <pc:sldMk cId="1719958439" sldId="2147481309"/>
            <ac:graphicFrameMk id="14" creationId="{4FB936CE-A19A-57AE-2AD9-0AC7D49B69F9}"/>
          </ac:graphicFrameMkLst>
        </pc:graphicFrameChg>
      </pc:sldChg>
    </pc:docChg>
  </pc:docChgLst>
  <pc:docChgLst>
    <pc:chgData name="Chakravarthy, Praveen (VWITS India I-TF)" userId="S::praveen.chakravarthy@volkswagen.co.in::5c183e1a-0ec9-4025-9668-b3f7b751ace7" providerId="AD" clId="Web-{78955DBF-E080-02CB-9D1A-A6E6886B5C13}"/>
    <pc:docChg chg="modSld">
      <pc:chgData name="Chakravarthy, Praveen (VWITS India I-TF)" userId="S::praveen.chakravarthy@volkswagen.co.in::5c183e1a-0ec9-4025-9668-b3f7b751ace7" providerId="AD" clId="Web-{78955DBF-E080-02CB-9D1A-A6E6886B5C13}" dt="2025-06-17T05:22:58.180" v="8"/>
      <pc:docMkLst>
        <pc:docMk/>
      </pc:docMkLst>
      <pc:sldChg chg="modSp">
        <pc:chgData name="Chakravarthy, Praveen (VWITS India I-TF)" userId="S::praveen.chakravarthy@volkswagen.co.in::5c183e1a-0ec9-4025-9668-b3f7b751ace7" providerId="AD" clId="Web-{78955DBF-E080-02CB-9D1A-A6E6886B5C13}" dt="2025-06-17T05:22:20.258" v="0"/>
        <pc:sldMkLst>
          <pc:docMk/>
          <pc:sldMk cId="1117642453" sldId="2147481322"/>
        </pc:sldMkLst>
      </pc:sldChg>
      <pc:sldChg chg="modSp">
        <pc:chgData name="Chakravarthy, Praveen (VWITS India I-TF)" userId="S::praveen.chakravarthy@volkswagen.co.in::5c183e1a-0ec9-4025-9668-b3f7b751ace7" providerId="AD" clId="Web-{78955DBF-E080-02CB-9D1A-A6E6886B5C13}" dt="2025-06-17T05:22:58.180" v="8"/>
        <pc:sldMkLst>
          <pc:docMk/>
          <pc:sldMk cId="2809793972" sldId="2147481327"/>
        </pc:sldMkLst>
      </pc:sldChg>
    </pc:docChg>
  </pc:docChgLst>
  <pc:docChgLst>
    <pc:chgData name="Baher, Yogesh (VWITS India I-TF)" userId="b2fca277-e161-4bf7-81ae-9ae9b0dfce87" providerId="ADAL" clId="{D8764039-B79A-43CC-A74F-102AD668746E}"/>
    <pc:docChg chg="undo redo custSel addSld modSld">
      <pc:chgData name="Baher, Yogesh (VWITS India I-TF)" userId="b2fca277-e161-4bf7-81ae-9ae9b0dfce87" providerId="ADAL" clId="{D8764039-B79A-43CC-A74F-102AD668746E}" dt="2025-04-23T09:42:32.697" v="157" actId="1076"/>
      <pc:docMkLst>
        <pc:docMk/>
      </pc:docMkLst>
      <pc:sldChg chg="modSp add mod setBg">
        <pc:chgData name="Baher, Yogesh (VWITS India I-TF)" userId="b2fca277-e161-4bf7-81ae-9ae9b0dfce87" providerId="ADAL" clId="{D8764039-B79A-43CC-A74F-102AD668746E}" dt="2025-04-23T09:42:32.697" v="157" actId="1076"/>
        <pc:sldMkLst>
          <pc:docMk/>
          <pc:sldMk cId="3796376823" sldId="2147481280"/>
        </pc:sldMkLst>
        <pc:spChg chg="mod">
          <ac:chgData name="Baher, Yogesh (VWITS India I-TF)" userId="b2fca277-e161-4bf7-81ae-9ae9b0dfce87" providerId="ADAL" clId="{D8764039-B79A-43CC-A74F-102AD668746E}" dt="2025-04-23T09:42:32.697" v="157" actId="1076"/>
          <ac:spMkLst>
            <pc:docMk/>
            <pc:sldMk cId="3796376823" sldId="2147481280"/>
            <ac:spMk id="3" creationId="{C736BEF1-0320-D440-ECA4-463B71A6FEBE}"/>
          </ac:spMkLst>
        </pc:spChg>
        <pc:spChg chg="mod">
          <ac:chgData name="Baher, Yogesh (VWITS India I-TF)" userId="b2fca277-e161-4bf7-81ae-9ae9b0dfce87" providerId="ADAL" clId="{D8764039-B79A-43CC-A74F-102AD668746E}" dt="2025-04-23T09:35:57.730" v="2" actId="108"/>
          <ac:spMkLst>
            <pc:docMk/>
            <pc:sldMk cId="3796376823" sldId="2147481280"/>
            <ac:spMk id="6" creationId="{E84544DA-2D13-9960-4D61-D4E172966576}"/>
          </ac:spMkLst>
        </pc:spChg>
        <pc:spChg chg="mod">
          <ac:chgData name="Baher, Yogesh (VWITS India I-TF)" userId="b2fca277-e161-4bf7-81ae-9ae9b0dfce87" providerId="ADAL" clId="{D8764039-B79A-43CC-A74F-102AD668746E}" dt="2025-04-23T09:41:47.302" v="132" actId="1076"/>
          <ac:spMkLst>
            <pc:docMk/>
            <pc:sldMk cId="3796376823" sldId="2147481280"/>
            <ac:spMk id="12" creationId="{DDF92A40-7BAB-DD68-B680-B00C388BC502}"/>
          </ac:spMkLst>
        </pc:spChg>
        <pc:spChg chg="mod">
          <ac:chgData name="Baher, Yogesh (VWITS India I-TF)" userId="b2fca277-e161-4bf7-81ae-9ae9b0dfce87" providerId="ADAL" clId="{D8764039-B79A-43CC-A74F-102AD668746E}" dt="2025-04-23T09:41:56.929" v="151" actId="1038"/>
          <ac:spMkLst>
            <pc:docMk/>
            <pc:sldMk cId="3796376823" sldId="2147481280"/>
            <ac:spMk id="13" creationId="{BBCB450D-2496-F9C9-9197-C19980789AE0}"/>
          </ac:spMkLst>
        </pc:spChg>
        <pc:spChg chg="mod">
          <ac:chgData name="Baher, Yogesh (VWITS India I-TF)" userId="b2fca277-e161-4bf7-81ae-9ae9b0dfce87" providerId="ADAL" clId="{D8764039-B79A-43CC-A74F-102AD668746E}" dt="2025-04-23T09:40:54.315" v="113" actId="1037"/>
          <ac:spMkLst>
            <pc:docMk/>
            <pc:sldMk cId="3796376823" sldId="2147481280"/>
            <ac:spMk id="14" creationId="{63BD857D-D958-1121-EB4E-B43422DF5BBE}"/>
          </ac:spMkLst>
        </pc:spChg>
        <pc:spChg chg="mod">
          <ac:chgData name="Baher, Yogesh (VWITS India I-TF)" userId="b2fca277-e161-4bf7-81ae-9ae9b0dfce87" providerId="ADAL" clId="{D8764039-B79A-43CC-A74F-102AD668746E}" dt="2025-04-23T09:40:54.315" v="113" actId="1037"/>
          <ac:spMkLst>
            <pc:docMk/>
            <pc:sldMk cId="3796376823" sldId="2147481280"/>
            <ac:spMk id="15" creationId="{95B0C48B-B753-EA38-D549-62E6B18B9E35}"/>
          </ac:spMkLst>
        </pc:spChg>
        <pc:spChg chg="mod">
          <ac:chgData name="Baher, Yogesh (VWITS India I-TF)" userId="b2fca277-e161-4bf7-81ae-9ae9b0dfce87" providerId="ADAL" clId="{D8764039-B79A-43CC-A74F-102AD668746E}" dt="2025-04-23T09:40:55.162" v="114" actId="12788"/>
          <ac:spMkLst>
            <pc:docMk/>
            <pc:sldMk cId="3796376823" sldId="2147481280"/>
            <ac:spMk id="16" creationId="{29080D03-A2C5-7BC0-7A0B-56721D03B7B2}"/>
          </ac:spMkLst>
        </pc:spChg>
        <pc:spChg chg="mod">
          <ac:chgData name="Baher, Yogesh (VWITS India I-TF)" userId="b2fca277-e161-4bf7-81ae-9ae9b0dfce87" providerId="ADAL" clId="{D8764039-B79A-43CC-A74F-102AD668746E}" dt="2025-04-23T09:40:54.315" v="113" actId="1037"/>
          <ac:spMkLst>
            <pc:docMk/>
            <pc:sldMk cId="3796376823" sldId="2147481280"/>
            <ac:spMk id="18" creationId="{DA6696A9-1B70-8691-EF6A-E606CB6A9F66}"/>
          </ac:spMkLst>
        </pc:spChg>
        <pc:spChg chg="mod">
          <ac:chgData name="Baher, Yogesh (VWITS India I-TF)" userId="b2fca277-e161-4bf7-81ae-9ae9b0dfce87" providerId="ADAL" clId="{D8764039-B79A-43CC-A74F-102AD668746E}" dt="2025-04-23T09:41:56.929" v="151" actId="1038"/>
          <ac:spMkLst>
            <pc:docMk/>
            <pc:sldMk cId="3796376823" sldId="2147481280"/>
            <ac:spMk id="19" creationId="{68BD6D11-23DE-DC28-A7DD-185998852E56}"/>
          </ac:spMkLst>
        </pc:spChg>
        <pc:spChg chg="mod">
          <ac:chgData name="Baher, Yogesh (VWITS India I-TF)" userId="b2fca277-e161-4bf7-81ae-9ae9b0dfce87" providerId="ADAL" clId="{D8764039-B79A-43CC-A74F-102AD668746E}" dt="2025-04-23T09:40:54.315" v="113" actId="1037"/>
          <ac:spMkLst>
            <pc:docMk/>
            <pc:sldMk cId="3796376823" sldId="2147481280"/>
            <ac:spMk id="20" creationId="{FC9D9B39-D28A-5B1F-742F-D80726706721}"/>
          </ac:spMkLst>
        </pc:spChg>
        <pc:spChg chg="mod">
          <ac:chgData name="Baher, Yogesh (VWITS India I-TF)" userId="b2fca277-e161-4bf7-81ae-9ae9b0dfce87" providerId="ADAL" clId="{D8764039-B79A-43CC-A74F-102AD668746E}" dt="2025-04-23T09:40:54.315" v="113" actId="1037"/>
          <ac:spMkLst>
            <pc:docMk/>
            <pc:sldMk cId="3796376823" sldId="2147481280"/>
            <ac:spMk id="22" creationId="{B83B96A4-D9B1-48F0-74E8-BC4BB988142F}"/>
          </ac:spMkLst>
        </pc:spChg>
        <pc:spChg chg="mod">
          <ac:chgData name="Baher, Yogesh (VWITS India I-TF)" userId="b2fca277-e161-4bf7-81ae-9ae9b0dfce87" providerId="ADAL" clId="{D8764039-B79A-43CC-A74F-102AD668746E}" dt="2025-04-23T09:40:55.162" v="114" actId="12788"/>
          <ac:spMkLst>
            <pc:docMk/>
            <pc:sldMk cId="3796376823" sldId="2147481280"/>
            <ac:spMk id="23" creationId="{72DD4750-3067-E6B6-3DB0-75F2CE8ED8B6}"/>
          </ac:spMkLst>
        </pc:spChg>
        <pc:grpChg chg="mod">
          <ac:chgData name="Baher, Yogesh (VWITS India I-TF)" userId="b2fca277-e161-4bf7-81ae-9ae9b0dfce87" providerId="ADAL" clId="{D8764039-B79A-43CC-A74F-102AD668746E}" dt="2025-04-23T09:42:27.167" v="154" actId="14100"/>
          <ac:grpSpMkLst>
            <pc:docMk/>
            <pc:sldMk cId="3796376823" sldId="2147481280"/>
            <ac:grpSpMk id="50" creationId="{D3A153EB-5F67-992F-C5C8-C0899CA83C1B}"/>
          </ac:grpSpMkLst>
        </pc:grpChg>
        <pc:grpChg chg="mod">
          <ac:chgData name="Baher, Yogesh (VWITS India I-TF)" userId="b2fca277-e161-4bf7-81ae-9ae9b0dfce87" providerId="ADAL" clId="{D8764039-B79A-43CC-A74F-102AD668746E}" dt="2025-04-23T09:42:20.054" v="152" actId="1076"/>
          <ac:grpSpMkLst>
            <pc:docMk/>
            <pc:sldMk cId="3796376823" sldId="2147481280"/>
            <ac:grpSpMk id="59" creationId="{82053B6E-AA43-AA47-085F-BD2E831B8738}"/>
          </ac:grpSpMkLst>
        </pc:grpChg>
        <pc:graphicFrameChg chg="mod modGraphic">
          <ac:chgData name="Baher, Yogesh (VWITS India I-TF)" userId="b2fca277-e161-4bf7-81ae-9ae9b0dfce87" providerId="ADAL" clId="{D8764039-B79A-43CC-A74F-102AD668746E}" dt="2025-04-23T09:42:31.347" v="156" actId="14100"/>
          <ac:graphicFrameMkLst>
            <pc:docMk/>
            <pc:sldMk cId="3796376823" sldId="2147481280"/>
            <ac:graphicFrameMk id="7" creationId="{322637DD-8ECD-57F0-9586-58ED80DD9E5A}"/>
          </ac:graphicFrameMkLst>
        </pc:graphicFrameChg>
        <pc:picChg chg="mod">
          <ac:chgData name="Baher, Yogesh (VWITS India I-TF)" userId="b2fca277-e161-4bf7-81ae-9ae9b0dfce87" providerId="ADAL" clId="{D8764039-B79A-43CC-A74F-102AD668746E}" dt="2025-04-23T09:40:55.162" v="114" actId="12788"/>
          <ac:picMkLst>
            <pc:docMk/>
            <pc:sldMk cId="3796376823" sldId="2147481280"/>
            <ac:picMk id="26" creationId="{22993B4E-8768-257F-2A16-0C444C7A4CF2}"/>
          </ac:picMkLst>
        </pc:picChg>
        <pc:picChg chg="mod">
          <ac:chgData name="Baher, Yogesh (VWITS India I-TF)" userId="b2fca277-e161-4bf7-81ae-9ae9b0dfce87" providerId="ADAL" clId="{D8764039-B79A-43CC-A74F-102AD668746E}" dt="2025-04-23T09:41:33.042" v="131" actId="1037"/>
          <ac:picMkLst>
            <pc:docMk/>
            <pc:sldMk cId="3796376823" sldId="2147481280"/>
            <ac:picMk id="27" creationId="{6BEA3DA0-C087-200D-2A36-3352F9D10B67}"/>
          </ac:picMkLst>
        </pc:picChg>
        <pc:picChg chg="mod">
          <ac:chgData name="Baher, Yogesh (VWITS India I-TF)" userId="b2fca277-e161-4bf7-81ae-9ae9b0dfce87" providerId="ADAL" clId="{D8764039-B79A-43CC-A74F-102AD668746E}" dt="2025-04-23T09:40:52.435" v="109" actId="1035"/>
          <ac:picMkLst>
            <pc:docMk/>
            <pc:sldMk cId="3796376823" sldId="2147481280"/>
            <ac:picMk id="30" creationId="{1F4BA140-6B2A-3767-E09F-517FDDCA2F55}"/>
          </ac:picMkLst>
        </pc:picChg>
        <pc:picChg chg="mod">
          <ac:chgData name="Baher, Yogesh (VWITS India I-TF)" userId="b2fca277-e161-4bf7-81ae-9ae9b0dfce87" providerId="ADAL" clId="{D8764039-B79A-43CC-A74F-102AD668746E}" dt="2025-04-23T09:41:33.042" v="131" actId="1037"/>
          <ac:picMkLst>
            <pc:docMk/>
            <pc:sldMk cId="3796376823" sldId="2147481280"/>
            <ac:picMk id="31" creationId="{31DFAC0A-675B-9EA5-F86E-86B493788481}"/>
          </ac:picMkLst>
        </pc:picChg>
        <pc:picChg chg="mod">
          <ac:chgData name="Baher, Yogesh (VWITS India I-TF)" userId="b2fca277-e161-4bf7-81ae-9ae9b0dfce87" providerId="ADAL" clId="{D8764039-B79A-43CC-A74F-102AD668746E}" dt="2025-04-23T09:39:15.182" v="9" actId="1440"/>
          <ac:picMkLst>
            <pc:docMk/>
            <pc:sldMk cId="3796376823" sldId="2147481280"/>
            <ac:picMk id="49" creationId="{B690706D-7846-4C05-3A9F-D56126A5F9D3}"/>
          </ac:picMkLst>
        </pc:picChg>
        <pc:picChg chg="mod">
          <ac:chgData name="Baher, Yogesh (VWITS India I-TF)" userId="b2fca277-e161-4bf7-81ae-9ae9b0dfce87" providerId="ADAL" clId="{D8764039-B79A-43CC-A74F-102AD668746E}" dt="2025-04-23T09:39:05.862" v="8" actId="1440"/>
          <ac:picMkLst>
            <pc:docMk/>
            <pc:sldMk cId="3796376823" sldId="2147481280"/>
            <ac:picMk id="55" creationId="{4796A609-8C01-03CC-DAF3-4C4A7968DA6D}"/>
          </ac:picMkLst>
        </pc:picChg>
      </pc:sldChg>
    </pc:docChg>
  </pc:docChgLst>
  <pc:docChgLst>
    <pc:chgData name="Baher, Yogesh (VWITS India I-T-F)" userId="b2fca277-e161-4bf7-81ae-9ae9b0dfce87" providerId="ADAL" clId="{D8764039-B79A-43CC-A74F-102AD668746E}"/>
    <pc:docChg chg="undo custSel modSld">
      <pc:chgData name="Baher, Yogesh (VWITS India I-T-F)" userId="b2fca277-e161-4bf7-81ae-9ae9b0dfce87" providerId="ADAL" clId="{D8764039-B79A-43CC-A74F-102AD668746E}" dt="2025-04-16T11:21:58.639" v="2621" actId="20577"/>
      <pc:docMkLst>
        <pc:docMk/>
      </pc:docMkLst>
      <pc:sldChg chg="addSp delSp modSp mod">
        <pc:chgData name="Baher, Yogesh (VWITS India I-T-F)" userId="b2fca277-e161-4bf7-81ae-9ae9b0dfce87" providerId="ADAL" clId="{D8764039-B79A-43CC-A74F-102AD668746E}" dt="2025-04-16T11:21:58.639" v="2621" actId="20577"/>
        <pc:sldMkLst>
          <pc:docMk/>
          <pc:sldMk cId="2117917660" sldId="2147481308"/>
        </pc:sldMkLst>
        <pc:spChg chg="add mod">
          <ac:chgData name="Baher, Yogesh (VWITS India I-T-F)" userId="b2fca277-e161-4bf7-81ae-9ae9b0dfce87" providerId="ADAL" clId="{D8764039-B79A-43CC-A74F-102AD668746E}" dt="2025-04-15T06:25:26.557" v="2081" actId="1036"/>
          <ac:spMkLst>
            <pc:docMk/>
            <pc:sldMk cId="2117917660" sldId="2147481308"/>
            <ac:spMk id="4" creationId="{8D6B27B5-F597-4619-C249-984C8765E765}"/>
          </ac:spMkLst>
        </pc:spChg>
        <pc:spChg chg="add mod">
          <ac:chgData name="Baher, Yogesh (VWITS India I-T-F)" userId="b2fca277-e161-4bf7-81ae-9ae9b0dfce87" providerId="ADAL" clId="{D8764039-B79A-43CC-A74F-102AD668746E}" dt="2025-04-15T06:25:26.557" v="2081" actId="1036"/>
          <ac:spMkLst>
            <pc:docMk/>
            <pc:sldMk cId="2117917660" sldId="2147481308"/>
            <ac:spMk id="5" creationId="{4D6F8667-A87F-185C-10BB-89CC8EF4C5C1}"/>
          </ac:spMkLst>
        </pc:spChg>
        <pc:spChg chg="mod">
          <ac:chgData name="Baher, Yogesh (VWITS India I-T-F)" userId="b2fca277-e161-4bf7-81ae-9ae9b0dfce87" providerId="ADAL" clId="{D8764039-B79A-43CC-A74F-102AD668746E}" dt="2025-04-15T06:02:39.761" v="1774" actId="1076"/>
          <ac:spMkLst>
            <pc:docMk/>
            <pc:sldMk cId="2117917660" sldId="2147481308"/>
            <ac:spMk id="11" creationId="{7DB8E485-1A9A-8C84-1C33-A38749F98B2D}"/>
          </ac:spMkLst>
        </pc:spChg>
        <pc:spChg chg="add mod">
          <ac:chgData name="Baher, Yogesh (VWITS India I-T-F)" userId="b2fca277-e161-4bf7-81ae-9ae9b0dfce87" providerId="ADAL" clId="{D8764039-B79A-43CC-A74F-102AD668746E}" dt="2025-04-15T06:25:26.557" v="2081" actId="1036"/>
          <ac:spMkLst>
            <pc:docMk/>
            <pc:sldMk cId="2117917660" sldId="2147481308"/>
            <ac:spMk id="21" creationId="{9EAA163C-D260-09D6-16BC-D23D14BCBB72}"/>
          </ac:spMkLst>
        </pc:spChg>
        <pc:spChg chg="add mod">
          <ac:chgData name="Baher, Yogesh (VWITS India I-T-F)" userId="b2fca277-e161-4bf7-81ae-9ae9b0dfce87" providerId="ADAL" clId="{D8764039-B79A-43CC-A74F-102AD668746E}" dt="2025-04-15T06:25:26.557" v="2081" actId="1036"/>
          <ac:spMkLst>
            <pc:docMk/>
            <pc:sldMk cId="2117917660" sldId="2147481308"/>
            <ac:spMk id="23" creationId="{29CC1AC0-F2FA-B695-1232-3242BAFB14BF}"/>
          </ac:spMkLst>
        </pc:spChg>
        <pc:spChg chg="add mod">
          <ac:chgData name="Baher, Yogesh (VWITS India I-T-F)" userId="b2fca277-e161-4bf7-81ae-9ae9b0dfce87" providerId="ADAL" clId="{D8764039-B79A-43CC-A74F-102AD668746E}" dt="2025-04-15T06:18:11.946" v="1912" actId="1076"/>
          <ac:spMkLst>
            <pc:docMk/>
            <pc:sldMk cId="2117917660" sldId="2147481308"/>
            <ac:spMk id="40" creationId="{FE99835F-0E14-9C75-6329-FEF0DBD978BD}"/>
          </ac:spMkLst>
        </pc:spChg>
        <pc:spChg chg="add del mod">
          <ac:chgData name="Baher, Yogesh (VWITS India I-T-F)" userId="b2fca277-e161-4bf7-81ae-9ae9b0dfce87" providerId="ADAL" clId="{D8764039-B79A-43CC-A74F-102AD668746E}" dt="2025-04-15T06:03:26.450" v="1826" actId="164"/>
          <ac:spMkLst>
            <pc:docMk/>
            <pc:sldMk cId="2117917660" sldId="2147481308"/>
            <ac:spMk id="55" creationId="{0F0C608C-CCD1-63A2-A9BD-B23E2B736FFC}"/>
          </ac:spMkLst>
        </pc:spChg>
        <pc:spChg chg="add del mod">
          <ac:chgData name="Baher, Yogesh (VWITS India I-T-F)" userId="b2fca277-e161-4bf7-81ae-9ae9b0dfce87" providerId="ADAL" clId="{D8764039-B79A-43CC-A74F-102AD668746E}" dt="2025-04-15T06:03:34.844" v="1830" actId="164"/>
          <ac:spMkLst>
            <pc:docMk/>
            <pc:sldMk cId="2117917660" sldId="2147481308"/>
            <ac:spMk id="56" creationId="{287A443F-CF06-7579-C8BE-3581362AED5D}"/>
          </ac:spMkLst>
        </pc:spChg>
        <pc:spChg chg="add del mod">
          <ac:chgData name="Baher, Yogesh (VWITS India I-T-F)" userId="b2fca277-e161-4bf7-81ae-9ae9b0dfce87" providerId="ADAL" clId="{D8764039-B79A-43CC-A74F-102AD668746E}" dt="2025-04-15T06:04:00.647" v="1833" actId="164"/>
          <ac:spMkLst>
            <pc:docMk/>
            <pc:sldMk cId="2117917660" sldId="2147481308"/>
            <ac:spMk id="57" creationId="{75FE429C-F3AA-0F3A-D0FC-720E3B4E5698}"/>
          </ac:spMkLst>
        </pc:spChg>
        <pc:spChg chg="add del mod">
          <ac:chgData name="Baher, Yogesh (VWITS India I-T-F)" userId="b2fca277-e161-4bf7-81ae-9ae9b0dfce87" providerId="ADAL" clId="{D8764039-B79A-43CC-A74F-102AD668746E}" dt="2025-04-15T06:03:56.454" v="1832" actId="164"/>
          <ac:spMkLst>
            <pc:docMk/>
            <pc:sldMk cId="2117917660" sldId="2147481308"/>
            <ac:spMk id="58" creationId="{E456B0DE-3C4F-7603-0E33-EFF6EEB440A7}"/>
          </ac:spMkLst>
        </pc:spChg>
        <pc:spChg chg="add mod">
          <ac:chgData name="Baher, Yogesh (VWITS India I-T-F)" userId="b2fca277-e161-4bf7-81ae-9ae9b0dfce87" providerId="ADAL" clId="{D8764039-B79A-43CC-A74F-102AD668746E}" dt="2025-04-15T06:03:53.027" v="1831" actId="164"/>
          <ac:spMkLst>
            <pc:docMk/>
            <pc:sldMk cId="2117917660" sldId="2147481308"/>
            <ac:spMk id="59" creationId="{C22807EC-D3A3-0C4F-F092-C1EBC7F9CC75}"/>
          </ac:spMkLst>
        </pc:spChg>
        <pc:spChg chg="add del mod">
          <ac:chgData name="Baher, Yogesh (VWITS India I-T-F)" userId="b2fca277-e161-4bf7-81ae-9ae9b0dfce87" providerId="ADAL" clId="{D8764039-B79A-43CC-A74F-102AD668746E}" dt="2025-04-15T06:03:26.450" v="1826" actId="164"/>
          <ac:spMkLst>
            <pc:docMk/>
            <pc:sldMk cId="2117917660" sldId="2147481308"/>
            <ac:spMk id="64" creationId="{EBA1B88B-CA22-E47B-917D-1B89A719630F}"/>
          </ac:spMkLst>
        </pc:spChg>
        <pc:spChg chg="add del mod">
          <ac:chgData name="Baher, Yogesh (VWITS India I-T-F)" userId="b2fca277-e161-4bf7-81ae-9ae9b0dfce87" providerId="ADAL" clId="{D8764039-B79A-43CC-A74F-102AD668746E}" dt="2025-04-15T06:07:01.149" v="1858" actId="207"/>
          <ac:spMkLst>
            <pc:docMk/>
            <pc:sldMk cId="2117917660" sldId="2147481308"/>
            <ac:spMk id="65" creationId="{48B788CD-D871-5A0E-752C-29BF0FD79993}"/>
          </ac:spMkLst>
        </pc:spChg>
        <pc:spChg chg="add del mod">
          <ac:chgData name="Baher, Yogesh (VWITS India I-T-F)" userId="b2fca277-e161-4bf7-81ae-9ae9b0dfce87" providerId="ADAL" clId="{D8764039-B79A-43CC-A74F-102AD668746E}" dt="2025-04-15T06:07:05.345" v="1859" actId="207"/>
          <ac:spMkLst>
            <pc:docMk/>
            <pc:sldMk cId="2117917660" sldId="2147481308"/>
            <ac:spMk id="66" creationId="{EFEA8176-298D-701A-9A25-AADFF8EB2A60}"/>
          </ac:spMkLst>
        </pc:spChg>
        <pc:spChg chg="add del mod">
          <ac:chgData name="Baher, Yogesh (VWITS India I-T-F)" userId="b2fca277-e161-4bf7-81ae-9ae9b0dfce87" providerId="ADAL" clId="{D8764039-B79A-43CC-A74F-102AD668746E}" dt="2025-04-15T06:07:07.606" v="1860" actId="207"/>
          <ac:spMkLst>
            <pc:docMk/>
            <pc:sldMk cId="2117917660" sldId="2147481308"/>
            <ac:spMk id="67" creationId="{8304AF38-7A02-C860-5736-9383AB04024D}"/>
          </ac:spMkLst>
        </pc:spChg>
        <pc:spChg chg="add mod">
          <ac:chgData name="Baher, Yogesh (VWITS India I-T-F)" userId="b2fca277-e161-4bf7-81ae-9ae9b0dfce87" providerId="ADAL" clId="{D8764039-B79A-43CC-A74F-102AD668746E}" dt="2025-04-15T06:03:53.027" v="1831" actId="164"/>
          <ac:spMkLst>
            <pc:docMk/>
            <pc:sldMk cId="2117917660" sldId="2147481308"/>
            <ac:spMk id="68" creationId="{F0601FD7-BEDA-9B4E-509B-B4447B3572E6}"/>
          </ac:spMkLst>
        </pc:spChg>
        <pc:spChg chg="add del mod">
          <ac:chgData name="Baher, Yogesh (VWITS India I-T-F)" userId="b2fca277-e161-4bf7-81ae-9ae9b0dfce87" providerId="ADAL" clId="{D8764039-B79A-43CC-A74F-102AD668746E}" dt="2025-04-15T06:26:09.757" v="2091" actId="1076"/>
          <ac:spMkLst>
            <pc:docMk/>
            <pc:sldMk cId="2117917660" sldId="2147481308"/>
            <ac:spMk id="71" creationId="{9D3A4E81-A250-E336-2A19-A8E04F772A61}"/>
          </ac:spMkLst>
        </pc:spChg>
        <pc:spChg chg="add del mod">
          <ac:chgData name="Baher, Yogesh (VWITS India I-T-F)" userId="b2fca277-e161-4bf7-81ae-9ae9b0dfce87" providerId="ADAL" clId="{D8764039-B79A-43CC-A74F-102AD668746E}" dt="2025-04-15T06:29:04.005" v="2236" actId="1037"/>
          <ac:spMkLst>
            <pc:docMk/>
            <pc:sldMk cId="2117917660" sldId="2147481308"/>
            <ac:spMk id="72" creationId="{C626E680-0709-5B69-C420-4C5901BE6883}"/>
          </ac:spMkLst>
        </pc:spChg>
        <pc:spChg chg="add mod">
          <ac:chgData name="Baher, Yogesh (VWITS India I-T-F)" userId="b2fca277-e161-4bf7-81ae-9ae9b0dfce87" providerId="ADAL" clId="{D8764039-B79A-43CC-A74F-102AD668746E}" dt="2025-04-16T11:21:58.639" v="2621" actId="20577"/>
          <ac:spMkLst>
            <pc:docMk/>
            <pc:sldMk cId="2117917660" sldId="2147481308"/>
            <ac:spMk id="73" creationId="{CEE34B43-188D-9C17-E6F0-3FCFF84545E9}"/>
          </ac:spMkLst>
        </pc:spChg>
        <pc:spChg chg="add mod">
          <ac:chgData name="Baher, Yogesh (VWITS India I-T-F)" userId="b2fca277-e161-4bf7-81ae-9ae9b0dfce87" providerId="ADAL" clId="{D8764039-B79A-43CC-A74F-102AD668746E}" dt="2025-04-15T06:29:20.180" v="2239" actId="207"/>
          <ac:spMkLst>
            <pc:docMk/>
            <pc:sldMk cId="2117917660" sldId="2147481308"/>
            <ac:spMk id="74" creationId="{7D858D50-FA4E-0009-6A31-674470629C3F}"/>
          </ac:spMkLst>
        </pc:spChg>
        <pc:spChg chg="add mod">
          <ac:chgData name="Baher, Yogesh (VWITS India I-T-F)" userId="b2fca277-e161-4bf7-81ae-9ae9b0dfce87" providerId="ADAL" clId="{D8764039-B79A-43CC-A74F-102AD668746E}" dt="2025-04-15T06:28:27.570" v="2133" actId="1076"/>
          <ac:spMkLst>
            <pc:docMk/>
            <pc:sldMk cId="2117917660" sldId="2147481308"/>
            <ac:spMk id="75" creationId="{8C220726-6547-40AB-A942-EDE9EF76185F}"/>
          </ac:spMkLst>
        </pc:spChg>
        <pc:spChg chg="add mod">
          <ac:chgData name="Baher, Yogesh (VWITS India I-T-F)" userId="b2fca277-e161-4bf7-81ae-9ae9b0dfce87" providerId="ADAL" clId="{D8764039-B79A-43CC-A74F-102AD668746E}" dt="2025-04-15T06:26:17.494" v="2092" actId="1076"/>
          <ac:spMkLst>
            <pc:docMk/>
            <pc:sldMk cId="2117917660" sldId="2147481308"/>
            <ac:spMk id="77" creationId="{B9D250C0-0561-95AC-7DD1-F8A7DD5765AA}"/>
          </ac:spMkLst>
        </pc:spChg>
        <pc:spChg chg="add mod">
          <ac:chgData name="Baher, Yogesh (VWITS India I-T-F)" userId="b2fca277-e161-4bf7-81ae-9ae9b0dfce87" providerId="ADAL" clId="{D8764039-B79A-43CC-A74F-102AD668746E}" dt="2025-04-15T05:19:50.325" v="1324" actId="1076"/>
          <ac:spMkLst>
            <pc:docMk/>
            <pc:sldMk cId="2117917660" sldId="2147481308"/>
            <ac:spMk id="83" creationId="{29D44DB6-DAE3-2830-9A02-90D10FA24D8A}"/>
          </ac:spMkLst>
        </pc:spChg>
        <pc:spChg chg="add mod">
          <ac:chgData name="Baher, Yogesh (VWITS India I-T-F)" userId="b2fca277-e161-4bf7-81ae-9ae9b0dfce87" providerId="ADAL" clId="{D8764039-B79A-43CC-A74F-102AD668746E}" dt="2025-04-15T06:29:04.005" v="2236" actId="1037"/>
          <ac:spMkLst>
            <pc:docMk/>
            <pc:sldMk cId="2117917660" sldId="2147481308"/>
            <ac:spMk id="87" creationId="{F6D8DAB8-2DEE-1922-B4C3-809AAFCDD7FA}"/>
          </ac:spMkLst>
        </pc:spChg>
        <pc:spChg chg="add mod">
          <ac:chgData name="Baher, Yogesh (VWITS India I-T-F)" userId="b2fca277-e161-4bf7-81ae-9ae9b0dfce87" providerId="ADAL" clId="{D8764039-B79A-43CC-A74F-102AD668746E}" dt="2025-04-15T06:28:58.339" v="2220" actId="1037"/>
          <ac:spMkLst>
            <pc:docMk/>
            <pc:sldMk cId="2117917660" sldId="2147481308"/>
            <ac:spMk id="88" creationId="{0AE6AA9A-5BDA-095C-E283-B6810D1C4D72}"/>
          </ac:spMkLst>
        </pc:spChg>
        <pc:spChg chg="add mod">
          <ac:chgData name="Baher, Yogesh (VWITS India I-T-F)" userId="b2fca277-e161-4bf7-81ae-9ae9b0dfce87" providerId="ADAL" clId="{D8764039-B79A-43CC-A74F-102AD668746E}" dt="2025-04-15T06:28:42.216" v="2170" actId="1038"/>
          <ac:spMkLst>
            <pc:docMk/>
            <pc:sldMk cId="2117917660" sldId="2147481308"/>
            <ac:spMk id="89" creationId="{42ACE9DD-8046-4791-7C65-525985EAECE1}"/>
          </ac:spMkLst>
        </pc:spChg>
        <pc:spChg chg="add mod">
          <ac:chgData name="Baher, Yogesh (VWITS India I-T-F)" userId="b2fca277-e161-4bf7-81ae-9ae9b0dfce87" providerId="ADAL" clId="{D8764039-B79A-43CC-A74F-102AD668746E}" dt="2025-04-15T06:28:27.570" v="2133" actId="1076"/>
          <ac:spMkLst>
            <pc:docMk/>
            <pc:sldMk cId="2117917660" sldId="2147481308"/>
            <ac:spMk id="90" creationId="{D77E1E66-2CCD-D057-FDB8-3962FA0972B7}"/>
          </ac:spMkLst>
        </pc:spChg>
        <pc:spChg chg="add mod">
          <ac:chgData name="Baher, Yogesh (VWITS India I-T-F)" userId="b2fca277-e161-4bf7-81ae-9ae9b0dfce87" providerId="ADAL" clId="{D8764039-B79A-43CC-A74F-102AD668746E}" dt="2025-04-15T06:26:29.036" v="2099" actId="1036"/>
          <ac:spMkLst>
            <pc:docMk/>
            <pc:sldMk cId="2117917660" sldId="2147481308"/>
            <ac:spMk id="92" creationId="{0D973368-AE9E-3F23-8482-B0B6160696E2}"/>
          </ac:spMkLst>
        </pc:spChg>
        <pc:spChg chg="add mod">
          <ac:chgData name="Baher, Yogesh (VWITS India I-T-F)" userId="b2fca277-e161-4bf7-81ae-9ae9b0dfce87" providerId="ADAL" clId="{D8764039-B79A-43CC-A74F-102AD668746E}" dt="2025-04-15T09:30:15.490" v="2608" actId="20577"/>
          <ac:spMkLst>
            <pc:docMk/>
            <pc:sldMk cId="2117917660" sldId="2147481308"/>
            <ac:spMk id="93" creationId="{F7E89960-FFC2-4C5E-A684-3111E644904A}"/>
          </ac:spMkLst>
        </pc:spChg>
        <pc:spChg chg="add mod">
          <ac:chgData name="Baher, Yogesh (VWITS India I-T-F)" userId="b2fca277-e161-4bf7-81ae-9ae9b0dfce87" providerId="ADAL" clId="{D8764039-B79A-43CC-A74F-102AD668746E}" dt="2025-04-15T06:27:01.915" v="2113" actId="1076"/>
          <ac:spMkLst>
            <pc:docMk/>
            <pc:sldMk cId="2117917660" sldId="2147481308"/>
            <ac:spMk id="97" creationId="{365B89EF-BDB8-94D1-EEBF-ADC638AC4EFF}"/>
          </ac:spMkLst>
        </pc:spChg>
        <pc:spChg chg="add mod">
          <ac:chgData name="Baher, Yogesh (VWITS India I-T-F)" userId="b2fca277-e161-4bf7-81ae-9ae9b0dfce87" providerId="ADAL" clId="{D8764039-B79A-43CC-A74F-102AD668746E}" dt="2025-04-15T06:27:01.915" v="2113" actId="1076"/>
          <ac:spMkLst>
            <pc:docMk/>
            <pc:sldMk cId="2117917660" sldId="2147481308"/>
            <ac:spMk id="100" creationId="{EED26A67-D249-4820-815D-42A526C324AC}"/>
          </ac:spMkLst>
        </pc:spChg>
        <pc:spChg chg="add mod">
          <ac:chgData name="Baher, Yogesh (VWITS India I-T-F)" userId="b2fca277-e161-4bf7-81ae-9ae9b0dfce87" providerId="ADAL" clId="{D8764039-B79A-43CC-A74F-102AD668746E}" dt="2025-04-15T06:27:01.915" v="2113" actId="1076"/>
          <ac:spMkLst>
            <pc:docMk/>
            <pc:sldMk cId="2117917660" sldId="2147481308"/>
            <ac:spMk id="101" creationId="{1961539C-04C7-CF3E-69A2-E02356DBB9DC}"/>
          </ac:spMkLst>
        </pc:spChg>
        <pc:spChg chg="add mod">
          <ac:chgData name="Baher, Yogesh (VWITS India I-T-F)" userId="b2fca277-e161-4bf7-81ae-9ae9b0dfce87" providerId="ADAL" clId="{D8764039-B79A-43CC-A74F-102AD668746E}" dt="2025-04-15T06:24:45.584" v="2063" actId="1076"/>
          <ac:spMkLst>
            <pc:docMk/>
            <pc:sldMk cId="2117917660" sldId="2147481308"/>
            <ac:spMk id="102" creationId="{F98AEEBF-13C8-9DEB-6951-8F967EB96A40}"/>
          </ac:spMkLst>
        </pc:spChg>
        <pc:spChg chg="add mod">
          <ac:chgData name="Baher, Yogesh (VWITS India I-T-F)" userId="b2fca277-e161-4bf7-81ae-9ae9b0dfce87" providerId="ADAL" clId="{D8764039-B79A-43CC-A74F-102AD668746E}" dt="2025-04-15T06:26:29.036" v="2099" actId="1036"/>
          <ac:spMkLst>
            <pc:docMk/>
            <pc:sldMk cId="2117917660" sldId="2147481308"/>
            <ac:spMk id="103" creationId="{6E12CFD2-2E5B-6DF5-1D7E-880D82D13449}"/>
          </ac:spMkLst>
        </pc:spChg>
        <pc:spChg chg="add mod">
          <ac:chgData name="Baher, Yogesh (VWITS India I-T-F)" userId="b2fca277-e161-4bf7-81ae-9ae9b0dfce87" providerId="ADAL" clId="{D8764039-B79A-43CC-A74F-102AD668746E}" dt="2025-04-15T06:26:41.793" v="2112" actId="1035"/>
          <ac:spMkLst>
            <pc:docMk/>
            <pc:sldMk cId="2117917660" sldId="2147481308"/>
            <ac:spMk id="104" creationId="{1657E367-F744-B32C-FCEE-77AA05C89B09}"/>
          </ac:spMkLst>
        </pc:spChg>
        <pc:spChg chg="add mod">
          <ac:chgData name="Baher, Yogesh (VWITS India I-T-F)" userId="b2fca277-e161-4bf7-81ae-9ae9b0dfce87" providerId="ADAL" clId="{D8764039-B79A-43CC-A74F-102AD668746E}" dt="2025-04-15T06:51:15.936" v="2337" actId="20577"/>
          <ac:spMkLst>
            <pc:docMk/>
            <pc:sldMk cId="2117917660" sldId="2147481308"/>
            <ac:spMk id="105" creationId="{482B3DA8-6D1A-034E-CC79-3AE676EE4192}"/>
          </ac:spMkLst>
        </pc:spChg>
        <pc:spChg chg="add mod">
          <ac:chgData name="Baher, Yogesh (VWITS India I-T-F)" userId="b2fca277-e161-4bf7-81ae-9ae9b0dfce87" providerId="ADAL" clId="{D8764039-B79A-43CC-A74F-102AD668746E}" dt="2025-04-15T06:18:11.946" v="1912" actId="1076"/>
          <ac:spMkLst>
            <pc:docMk/>
            <pc:sldMk cId="2117917660" sldId="2147481308"/>
            <ac:spMk id="114" creationId="{48192F3E-02A5-6DD5-F55F-D733101516E8}"/>
          </ac:spMkLst>
        </pc:spChg>
        <pc:spChg chg="add mod">
          <ac:chgData name="Baher, Yogesh (VWITS India I-T-F)" userId="b2fca277-e161-4bf7-81ae-9ae9b0dfce87" providerId="ADAL" clId="{D8764039-B79A-43CC-A74F-102AD668746E}" dt="2025-04-15T06:26:41.793" v="2112" actId="1035"/>
          <ac:spMkLst>
            <pc:docMk/>
            <pc:sldMk cId="2117917660" sldId="2147481308"/>
            <ac:spMk id="124" creationId="{92481BF4-FE11-4E77-93AC-20B9715C1762}"/>
          </ac:spMkLst>
        </pc:spChg>
        <pc:grpChg chg="add mod">
          <ac:chgData name="Baher, Yogesh (VWITS India I-T-F)" userId="b2fca277-e161-4bf7-81ae-9ae9b0dfce87" providerId="ADAL" clId="{D8764039-B79A-43CC-A74F-102AD668746E}" dt="2025-04-15T06:32:56.138" v="2241" actId="1076"/>
          <ac:grpSpMkLst>
            <pc:docMk/>
            <pc:sldMk cId="2117917660" sldId="2147481308"/>
            <ac:grpSpMk id="111" creationId="{3631540B-DD3C-6E34-9999-CB31823DCCA1}"/>
          </ac:grpSpMkLst>
        </pc:grpChg>
        <pc:grpChg chg="add mod">
          <ac:chgData name="Baher, Yogesh (VWITS India I-T-F)" userId="b2fca277-e161-4bf7-81ae-9ae9b0dfce87" providerId="ADAL" clId="{D8764039-B79A-43CC-A74F-102AD668746E}" dt="2025-04-15T06:08:25.305" v="1867" actId="1076"/>
          <ac:grpSpMkLst>
            <pc:docMk/>
            <pc:sldMk cId="2117917660" sldId="2147481308"/>
            <ac:grpSpMk id="115" creationId="{8C6B8FA4-F1F2-357C-4B10-368E0D385C24}"/>
          </ac:grpSpMkLst>
        </pc:grpChg>
        <pc:grpChg chg="add mod">
          <ac:chgData name="Baher, Yogesh (VWITS India I-T-F)" userId="b2fca277-e161-4bf7-81ae-9ae9b0dfce87" providerId="ADAL" clId="{D8764039-B79A-43CC-A74F-102AD668746E}" dt="2025-04-15T06:29:04.005" v="2236" actId="1037"/>
          <ac:grpSpMkLst>
            <pc:docMk/>
            <pc:sldMk cId="2117917660" sldId="2147481308"/>
            <ac:grpSpMk id="116" creationId="{DBEBECE4-FF28-DD93-E35D-3B3610B4D23E}"/>
          </ac:grpSpMkLst>
        </pc:grpChg>
        <pc:grpChg chg="add mod">
          <ac:chgData name="Baher, Yogesh (VWITS India I-T-F)" userId="b2fca277-e161-4bf7-81ae-9ae9b0dfce87" providerId="ADAL" clId="{D8764039-B79A-43CC-A74F-102AD668746E}" dt="2025-04-15T06:28:27.570" v="2133" actId="1076"/>
          <ac:grpSpMkLst>
            <pc:docMk/>
            <pc:sldMk cId="2117917660" sldId="2147481308"/>
            <ac:grpSpMk id="117" creationId="{F83EF1E8-28A6-7ABA-624E-3183F6C58172}"/>
          </ac:grpSpMkLst>
        </pc:grpChg>
        <pc:grpChg chg="add mod">
          <ac:chgData name="Baher, Yogesh (VWITS India I-T-F)" userId="b2fca277-e161-4bf7-81ae-9ae9b0dfce87" providerId="ADAL" clId="{D8764039-B79A-43CC-A74F-102AD668746E}" dt="2025-04-15T06:28:42.216" v="2170" actId="1038"/>
          <ac:grpSpMkLst>
            <pc:docMk/>
            <pc:sldMk cId="2117917660" sldId="2147481308"/>
            <ac:grpSpMk id="118" creationId="{3365BA0B-34C9-1B49-AC77-9E4EFC493C2E}"/>
          </ac:grpSpMkLst>
        </pc:grpChg>
        <pc:grpChg chg="add mod">
          <ac:chgData name="Baher, Yogesh (VWITS India I-T-F)" userId="b2fca277-e161-4bf7-81ae-9ae9b0dfce87" providerId="ADAL" clId="{D8764039-B79A-43CC-A74F-102AD668746E}" dt="2025-04-15T06:28:58.339" v="2220" actId="1037"/>
          <ac:grpSpMkLst>
            <pc:docMk/>
            <pc:sldMk cId="2117917660" sldId="2147481308"/>
            <ac:grpSpMk id="119" creationId="{14B28FCC-5C3C-4340-6A0E-DB446B513C28}"/>
          </ac:grpSpMkLst>
        </pc:grpChg>
        <pc:picChg chg="add del mod">
          <ac:chgData name="Baher, Yogesh (VWITS India I-T-F)" userId="b2fca277-e161-4bf7-81ae-9ae9b0dfce87" providerId="ADAL" clId="{D8764039-B79A-43CC-A74F-102AD668746E}" dt="2025-04-15T06:18:11.946" v="1912" actId="1076"/>
          <ac:picMkLst>
            <pc:docMk/>
            <pc:sldMk cId="2117917660" sldId="2147481308"/>
            <ac:picMk id="42" creationId="{5AE02C29-88E5-6485-3F78-789C6F823D07}"/>
          </ac:picMkLst>
        </pc:picChg>
        <pc:picChg chg="mod">
          <ac:chgData name="Baher, Yogesh (VWITS India I-T-F)" userId="b2fca277-e161-4bf7-81ae-9ae9b0dfce87" providerId="ADAL" clId="{D8764039-B79A-43CC-A74F-102AD668746E}" dt="2025-04-15T06:18:11.946" v="1912" actId="1076"/>
          <ac:picMkLst>
            <pc:docMk/>
            <pc:sldMk cId="2117917660" sldId="2147481308"/>
            <ac:picMk id="47" creationId="{E2ABBCA4-8FA5-B38F-B1B3-EA8A9C61066F}"/>
          </ac:picMkLst>
        </pc:picChg>
        <pc:picChg chg="add mod">
          <ac:chgData name="Baher, Yogesh (VWITS India I-T-F)" userId="b2fca277-e161-4bf7-81ae-9ae9b0dfce87" providerId="ADAL" clId="{D8764039-B79A-43CC-A74F-102AD668746E}" dt="2025-04-15T06:18:11.946" v="1912" actId="1076"/>
          <ac:picMkLst>
            <pc:docMk/>
            <pc:sldMk cId="2117917660" sldId="2147481308"/>
            <ac:picMk id="48" creationId="{242D7059-00B9-77B3-8BED-CA881F93F86B}"/>
          </ac:picMkLst>
        </pc:picChg>
        <pc:picChg chg="add mod">
          <ac:chgData name="Baher, Yogesh (VWITS India I-T-F)" userId="b2fca277-e161-4bf7-81ae-9ae9b0dfce87" providerId="ADAL" clId="{D8764039-B79A-43CC-A74F-102AD668746E}" dt="2025-04-15T06:18:11.946" v="1912" actId="1076"/>
          <ac:picMkLst>
            <pc:docMk/>
            <pc:sldMk cId="2117917660" sldId="2147481308"/>
            <ac:picMk id="49" creationId="{17110AC0-E4F5-AD12-688B-40DE39918067}"/>
          </ac:picMkLst>
        </pc:picChg>
        <pc:picChg chg="add mod">
          <ac:chgData name="Baher, Yogesh (VWITS India I-T-F)" userId="b2fca277-e161-4bf7-81ae-9ae9b0dfce87" providerId="ADAL" clId="{D8764039-B79A-43CC-A74F-102AD668746E}" dt="2025-04-15T06:18:11.946" v="1912" actId="1076"/>
          <ac:picMkLst>
            <pc:docMk/>
            <pc:sldMk cId="2117917660" sldId="2147481308"/>
            <ac:picMk id="50" creationId="{6283222B-5D20-19D9-7B03-4452DDF715AB}"/>
          </ac:picMkLst>
        </pc:picChg>
        <pc:picChg chg="mod">
          <ac:chgData name="Baher, Yogesh (VWITS India I-T-F)" userId="b2fca277-e161-4bf7-81ae-9ae9b0dfce87" providerId="ADAL" clId="{D8764039-B79A-43CC-A74F-102AD668746E}" dt="2025-04-15T06:18:11.946" v="1912" actId="1076"/>
          <ac:picMkLst>
            <pc:docMk/>
            <pc:sldMk cId="2117917660" sldId="2147481308"/>
            <ac:picMk id="51" creationId="{AEB3E32F-BEB6-C8DA-2C6E-A95C1ECF0AE6}"/>
          </ac:picMkLst>
        </pc:picChg>
        <pc:picChg chg="add del mod ord topLvl">
          <ac:chgData name="Baher, Yogesh (VWITS India I-T-F)" userId="b2fca277-e161-4bf7-81ae-9ae9b0dfce87" providerId="ADAL" clId="{D8764039-B79A-43CC-A74F-102AD668746E}" dt="2025-04-15T06:32:56.138" v="2241" actId="1076"/>
          <ac:picMkLst>
            <pc:docMk/>
            <pc:sldMk cId="2117917660" sldId="2147481308"/>
            <ac:picMk id="52" creationId="{1AB19F14-BD28-1D37-2460-6D55A57ABF97}"/>
          </ac:picMkLst>
        </pc:picChg>
        <pc:picChg chg="add mod">
          <ac:chgData name="Baher, Yogesh (VWITS India I-T-F)" userId="b2fca277-e161-4bf7-81ae-9ae9b0dfce87" providerId="ADAL" clId="{D8764039-B79A-43CC-A74F-102AD668746E}" dt="2025-04-15T06:18:11.946" v="1912" actId="1076"/>
          <ac:picMkLst>
            <pc:docMk/>
            <pc:sldMk cId="2117917660" sldId="2147481308"/>
            <ac:picMk id="82" creationId="{72D728F4-998D-0F02-63C1-5EF64C1FC295}"/>
          </ac:picMkLst>
        </pc:picChg>
        <pc:picChg chg="add mod">
          <ac:chgData name="Baher, Yogesh (VWITS India I-T-F)" userId="b2fca277-e161-4bf7-81ae-9ae9b0dfce87" providerId="ADAL" clId="{D8764039-B79A-43CC-A74F-102AD668746E}" dt="2025-04-15T06:18:17.008" v="1913" actId="1076"/>
          <ac:picMkLst>
            <pc:docMk/>
            <pc:sldMk cId="2117917660" sldId="2147481308"/>
            <ac:picMk id="1035" creationId="{29FBF67C-AA8F-982C-8BB0-8D11DAA6DA9C}"/>
          </ac:picMkLst>
        </pc:picChg>
        <pc:picChg chg="add mod topLvl">
          <ac:chgData name="Baher, Yogesh (VWITS India I-T-F)" userId="b2fca277-e161-4bf7-81ae-9ae9b0dfce87" providerId="ADAL" clId="{D8764039-B79A-43CC-A74F-102AD668746E}" dt="2025-04-15T06:18:11.946" v="1912" actId="1076"/>
          <ac:picMkLst>
            <pc:docMk/>
            <pc:sldMk cId="2117917660" sldId="2147481308"/>
            <ac:picMk id="1038" creationId="{702DAD42-BA11-DC18-A0A0-CEB6F61E9CC1}"/>
          </ac:picMkLst>
        </pc:picChg>
        <pc:picChg chg="add mod">
          <ac:chgData name="Baher, Yogesh (VWITS India I-T-F)" userId="b2fca277-e161-4bf7-81ae-9ae9b0dfce87" providerId="ADAL" clId="{D8764039-B79A-43CC-A74F-102AD668746E}" dt="2025-04-15T06:32:58.796" v="2242" actId="167"/>
          <ac:picMkLst>
            <pc:docMk/>
            <pc:sldMk cId="2117917660" sldId="2147481308"/>
            <ac:picMk id="1040" creationId="{0A7D8F46-66E8-4D19-ED45-AA7C71DCDA71}"/>
          </ac:picMkLst>
        </pc:picChg>
        <pc:cxnChg chg="mod">
          <ac:chgData name="Baher, Yogesh (VWITS India I-T-F)" userId="b2fca277-e161-4bf7-81ae-9ae9b0dfce87" providerId="ADAL" clId="{D8764039-B79A-43CC-A74F-102AD668746E}" dt="2025-04-15T05:54:31.301" v="1651" actId="14100"/>
          <ac:cxnSpMkLst>
            <pc:docMk/>
            <pc:sldMk cId="2117917660" sldId="2147481308"/>
            <ac:cxnSpMk id="44" creationId="{B38DC955-6782-D2CE-3001-1B9EA1168716}"/>
          </ac:cxnSpMkLst>
        </pc:cxnChg>
        <pc:cxnChg chg="add mod">
          <ac:chgData name="Baher, Yogesh (VWITS India I-T-F)" userId="b2fca277-e161-4bf7-81ae-9ae9b0dfce87" providerId="ADAL" clId="{D8764039-B79A-43CC-A74F-102AD668746E}" dt="2025-04-15T06:08:25.305" v="1867" actId="1076"/>
          <ac:cxnSpMkLst>
            <pc:docMk/>
            <pc:sldMk cId="2117917660" sldId="2147481308"/>
            <ac:cxnSpMk id="62" creationId="{15205332-95CB-594A-A93E-3B0846454E96}"/>
          </ac:cxnSpMkLst>
        </pc:cxnChg>
      </pc:sldChg>
      <pc:sldChg chg="modSp mod">
        <pc:chgData name="Baher, Yogesh (VWITS India I-T-F)" userId="b2fca277-e161-4bf7-81ae-9ae9b0dfce87" providerId="ADAL" clId="{D8764039-B79A-43CC-A74F-102AD668746E}" dt="2025-04-15T09:38:08.439" v="2609" actId="20577"/>
        <pc:sldMkLst>
          <pc:docMk/>
          <pc:sldMk cId="2395488944" sldId="2147481311"/>
        </pc:sldMkLst>
        <pc:graphicFrameChg chg="mod modGraphic">
          <ac:chgData name="Baher, Yogesh (VWITS India I-T-F)" userId="b2fca277-e161-4bf7-81ae-9ae9b0dfce87" providerId="ADAL" clId="{D8764039-B79A-43CC-A74F-102AD668746E}" dt="2025-04-15T09:38:08.439" v="2609" actId="20577"/>
          <ac:graphicFrameMkLst>
            <pc:docMk/>
            <pc:sldMk cId="2395488944" sldId="2147481311"/>
            <ac:graphicFrameMk id="14" creationId="{01F4BC91-5B66-CE70-3564-145F58147F0D}"/>
          </ac:graphicFrameMkLst>
        </pc:graphicFrameChg>
      </pc:sldChg>
    </pc:docChg>
  </pc:docChgLst>
  <pc:docChgLst>
    <pc:chgData name="Baher, Yogesh (VWITS India I-TF)" userId="b2fca277-e161-4bf7-81ae-9ae9b0dfce87" providerId="ADAL" clId="{E9574C4A-5F3A-4470-9BF7-CD5EA811C079}"/>
    <pc:docChg chg="undo custSel addSld modSld modSection">
      <pc:chgData name="Baher, Yogesh (VWITS India I-TF)" userId="b2fca277-e161-4bf7-81ae-9ae9b0dfce87" providerId="ADAL" clId="{E9574C4A-5F3A-4470-9BF7-CD5EA811C079}" dt="2025-06-17T09:58:31.333" v="646" actId="1076"/>
      <pc:docMkLst>
        <pc:docMk/>
      </pc:docMkLst>
      <pc:sldChg chg="delSp modSp mod setBg">
        <pc:chgData name="Baher, Yogesh (VWITS India I-TF)" userId="b2fca277-e161-4bf7-81ae-9ae9b0dfce87" providerId="ADAL" clId="{E9574C4A-5F3A-4470-9BF7-CD5EA811C079}" dt="2025-06-17T09:58:31.333" v="646" actId="1076"/>
        <pc:sldMkLst>
          <pc:docMk/>
          <pc:sldMk cId="1719958439" sldId="2147481309"/>
        </pc:sldMkLst>
        <pc:graphicFrameChg chg="mod modGraphic">
          <ac:chgData name="Baher, Yogesh (VWITS India I-TF)" userId="b2fca277-e161-4bf7-81ae-9ae9b0dfce87" providerId="ADAL" clId="{E9574C4A-5F3A-4470-9BF7-CD5EA811C079}" dt="2025-06-17T09:58:31.333" v="646" actId="1076"/>
          <ac:graphicFrameMkLst>
            <pc:docMk/>
            <pc:sldMk cId="1719958439" sldId="2147481309"/>
            <ac:graphicFrameMk id="14" creationId="{4FB936CE-A19A-57AE-2AD9-0AC7D49B69F9}"/>
          </ac:graphicFrameMkLst>
        </pc:graphicFrameChg>
      </pc:sldChg>
      <pc:sldChg chg="addSp delSp modSp new mod">
        <pc:chgData name="Baher, Yogesh (VWITS India I-TF)" userId="b2fca277-e161-4bf7-81ae-9ae9b0dfce87" providerId="ADAL" clId="{E9574C4A-5F3A-4470-9BF7-CD5EA811C079}" dt="2025-06-17T09:57:27.239" v="645" actId="1076"/>
        <pc:sldMkLst>
          <pc:docMk/>
          <pc:sldMk cId="3528894101" sldId="2147481332"/>
        </pc:sldMkLst>
        <pc:graphicFrameChg chg="add mod">
          <ac:chgData name="Baher, Yogesh (VWITS India I-TF)" userId="b2fca277-e161-4bf7-81ae-9ae9b0dfce87" providerId="ADAL" clId="{E9574C4A-5F3A-4470-9BF7-CD5EA811C079}" dt="2025-06-17T09:57:27.239" v="645" actId="1076"/>
          <ac:graphicFrameMkLst>
            <pc:docMk/>
            <pc:sldMk cId="3528894101" sldId="2147481332"/>
            <ac:graphicFrameMk id="7" creationId="{D7553F66-CFD7-A62F-882D-CE047B7AC990}"/>
          </ac:graphicFrameMkLst>
        </pc:graphicFrameChg>
      </pc:sldChg>
    </pc:docChg>
  </pc:docChgLst>
  <pc:docChgLst>
    <pc:chgData name="Grandhi, Chinni Venkatesh (VWITS India I-TF)" userId="S::chinni.venkatesh.grandhi@volkswagen.co.in::49501b00-8155-43e5-a3c8-e9c136037406" providerId="AD" clId="Web-{5B618CE5-5A49-6CBD-4614-7A2A18B4A99E}"/>
    <pc:docChg chg="modSld">
      <pc:chgData name="Grandhi, Chinni Venkatesh (VWITS India I-TF)" userId="S::chinni.venkatesh.grandhi@volkswagen.co.in::49501b00-8155-43e5-a3c8-e9c136037406" providerId="AD" clId="Web-{5B618CE5-5A49-6CBD-4614-7A2A18B4A99E}" dt="2025-05-19T07:10:11.906" v="59" actId="14100"/>
      <pc:docMkLst>
        <pc:docMk/>
      </pc:docMkLst>
      <pc:sldChg chg="addSp modSp">
        <pc:chgData name="Grandhi, Chinni Venkatesh (VWITS India I-TF)" userId="S::chinni.venkatesh.grandhi@volkswagen.co.in::49501b00-8155-43e5-a3c8-e9c136037406" providerId="AD" clId="Web-{5B618CE5-5A49-6CBD-4614-7A2A18B4A99E}" dt="2025-05-19T07:10:11.906" v="59" actId="14100"/>
        <pc:sldMkLst>
          <pc:docMk/>
          <pc:sldMk cId="2117917660" sldId="2147481308"/>
        </pc:sldMkLst>
        <pc:spChg chg="add mod">
          <ac:chgData name="Grandhi, Chinni Venkatesh (VWITS India I-TF)" userId="S::chinni.venkatesh.grandhi@volkswagen.co.in::49501b00-8155-43e5-a3c8-e9c136037406" providerId="AD" clId="Web-{5B618CE5-5A49-6CBD-4614-7A2A18B4A99E}" dt="2025-05-19T07:10:11.906" v="59" actId="14100"/>
          <ac:spMkLst>
            <pc:docMk/>
            <pc:sldMk cId="2117917660" sldId="2147481308"/>
            <ac:spMk id="2" creationId="{50994C7B-BDE8-817A-7951-244A69EF40FF}"/>
          </ac:spMkLst>
        </pc:spChg>
        <pc:spChg chg="mod">
          <ac:chgData name="Grandhi, Chinni Venkatesh (VWITS India I-TF)" userId="S::chinni.venkatesh.grandhi@volkswagen.co.in::49501b00-8155-43e5-a3c8-e9c136037406" providerId="AD" clId="Web-{5B618CE5-5A49-6CBD-4614-7A2A18B4A99E}" dt="2025-05-19T07:08:24.121" v="1" actId="20577"/>
          <ac:spMkLst>
            <pc:docMk/>
            <pc:sldMk cId="2117917660" sldId="2147481308"/>
            <ac:spMk id="105" creationId="{482B3DA8-6D1A-034E-CC79-3AE676EE4192}"/>
          </ac:spMkLst>
        </pc:spChg>
        <pc:spChg chg="mod">
          <ac:chgData name="Grandhi, Chinni Venkatesh (VWITS India I-TF)" userId="S::chinni.venkatesh.grandhi@volkswagen.co.in::49501b00-8155-43e5-a3c8-e9c136037406" providerId="AD" clId="Web-{5B618CE5-5A49-6CBD-4614-7A2A18B4A99E}" dt="2025-05-19T07:09:04.748" v="36" actId="20577"/>
          <ac:spMkLst>
            <pc:docMk/>
            <pc:sldMk cId="2117917660" sldId="2147481308"/>
            <ac:spMk id="124" creationId="{92481BF4-FE11-4E77-93AC-20B9715C1762}"/>
          </ac:spMkLst>
        </pc:spChg>
      </pc:sldChg>
    </pc:docChg>
  </pc:docChgLst>
  <pc:docChgLst>
    <pc:chgData name="Thorat, Abhijit (VWITS India I-GT-F)" userId="S::abhijit.thorat@volkswagen.co.in::176f8634-a3a1-4767-ab2b-bdd6ead4bcc5" providerId="AD" clId="Web-{630D3890-9289-FFB0-4C2A-BCC96C8270D1}"/>
    <pc:docChg chg="addSld delSld modSld modSection">
      <pc:chgData name="Thorat, Abhijit (VWITS India I-GT-F)" userId="S::abhijit.thorat@volkswagen.co.in::176f8634-a3a1-4767-ab2b-bdd6ead4bcc5" providerId="AD" clId="Web-{630D3890-9289-FFB0-4C2A-BCC96C8270D1}" dt="2024-12-03T04:52:09.867" v="347"/>
      <pc:docMkLst>
        <pc:docMk/>
      </pc:docMkLst>
      <pc:sldChg chg="add del">
        <pc:chgData name="Thorat, Abhijit (VWITS India I-GT-F)" userId="S::abhijit.thorat@volkswagen.co.in::176f8634-a3a1-4767-ab2b-bdd6ead4bcc5" providerId="AD" clId="Web-{630D3890-9289-FFB0-4C2A-BCC96C8270D1}" dt="2024-12-03T03:57:54.423" v="55"/>
        <pc:sldMkLst>
          <pc:docMk/>
          <pc:sldMk cId="11455252" sldId="638"/>
        </pc:sldMkLst>
      </pc:sldChg>
      <pc:sldChg chg="modSp">
        <pc:chgData name="Thorat, Abhijit (VWITS India I-GT-F)" userId="S::abhijit.thorat@volkswagen.co.in::176f8634-a3a1-4767-ab2b-bdd6ead4bcc5" providerId="AD" clId="Web-{630D3890-9289-FFB0-4C2A-BCC96C8270D1}" dt="2024-12-03T03:58:54.799" v="252"/>
        <pc:sldMkLst>
          <pc:docMk/>
          <pc:sldMk cId="3634853704" sldId="2147481292"/>
        </pc:sldMkLst>
      </pc:sldChg>
      <pc:sldChg chg="add del">
        <pc:chgData name="Thorat, Abhijit (VWITS India I-GT-F)" userId="S::abhijit.thorat@volkswagen.co.in::176f8634-a3a1-4767-ab2b-bdd6ead4bcc5" providerId="AD" clId="Web-{630D3890-9289-FFB0-4C2A-BCC96C8270D1}" dt="2024-12-03T04:52:09.867" v="347"/>
        <pc:sldMkLst>
          <pc:docMk/>
          <pc:sldMk cId="1769234070" sldId="2147481299"/>
        </pc:sldMkLst>
      </pc:sldChg>
      <pc:sldChg chg="addSp delSp modSp del">
        <pc:chgData name="Thorat, Abhijit (VWITS India I-GT-F)" userId="S::abhijit.thorat@volkswagen.co.in::176f8634-a3a1-4767-ab2b-bdd6ead4bcc5" providerId="AD" clId="Web-{630D3890-9289-FFB0-4C2A-BCC96C8270D1}" dt="2024-12-03T03:57:35.797" v="38"/>
        <pc:sldMkLst>
          <pc:docMk/>
          <pc:sldMk cId="727282122" sldId="2147481304"/>
        </pc:sldMkLst>
      </pc:sldChg>
      <pc:sldChg chg="addSp delSp modSp add replId">
        <pc:chgData name="Thorat, Abhijit (VWITS India I-GT-F)" userId="S::abhijit.thorat@volkswagen.co.in::176f8634-a3a1-4767-ab2b-bdd6ead4bcc5" providerId="AD" clId="Web-{630D3890-9289-FFB0-4C2A-BCC96C8270D1}" dt="2024-12-03T04:18:12.677" v="345" actId="14100"/>
        <pc:sldMkLst>
          <pc:docMk/>
          <pc:sldMk cId="4174817567" sldId="2147481307"/>
        </pc:sldMkLst>
      </pc:sldChg>
    </pc:docChg>
  </pc:docChgLst>
  <pc:docChgLst>
    <pc:chgData name="Dabas, Sardul (VWITS India I-GT-F)" userId="S::sardul.dabas@volkswagen.co.in::d094f239-3bc7-4353-ac2e-43dc4357f19a" providerId="AD" clId="Web-{08EB14CC-DC8B-8EE4-4A91-8A8642B0D3D3}"/>
    <pc:docChg chg="modSld">
      <pc:chgData name="Dabas, Sardul (VWITS India I-GT-F)" userId="S::sardul.dabas@volkswagen.co.in::d094f239-3bc7-4353-ac2e-43dc4357f19a" providerId="AD" clId="Web-{08EB14CC-DC8B-8EE4-4A91-8A8642B0D3D3}" dt="2025-04-11T13:36:55.347" v="7" actId="20577"/>
      <pc:docMkLst>
        <pc:docMk/>
      </pc:docMkLst>
      <pc:sldChg chg="modSp">
        <pc:chgData name="Dabas, Sardul (VWITS India I-GT-F)" userId="S::sardul.dabas@volkswagen.co.in::d094f239-3bc7-4353-ac2e-43dc4357f19a" providerId="AD" clId="Web-{08EB14CC-DC8B-8EE4-4A91-8A8642B0D3D3}" dt="2025-04-11T13:36:55.347" v="7" actId="20577"/>
        <pc:sldMkLst>
          <pc:docMk/>
          <pc:sldMk cId="4095665259" sldId="2147481314"/>
        </pc:sldMkLst>
        <pc:spChg chg="mod">
          <ac:chgData name="Dabas, Sardul (VWITS India I-GT-F)" userId="S::sardul.dabas@volkswagen.co.in::d094f239-3bc7-4353-ac2e-43dc4357f19a" providerId="AD" clId="Web-{08EB14CC-DC8B-8EE4-4A91-8A8642B0D3D3}" dt="2025-04-11T13:36:55.347" v="7" actId="20577"/>
          <ac:spMkLst>
            <pc:docMk/>
            <pc:sldMk cId="4095665259" sldId="2147481314"/>
            <ac:spMk id="4" creationId="{9F033F1E-E53B-2C6F-1B0E-D0D654502D3A}"/>
          </ac:spMkLst>
        </pc:spChg>
      </pc:sldChg>
    </pc:docChg>
  </pc:docChgLst>
  <pc:docChgLst>
    <pc:chgData name="Thorat, Abhijit (VWITS India I-TF)" userId="S::abhijit.thorat@volkswagen.co.in::176f8634-a3a1-4767-ab2b-bdd6ead4bcc5" providerId="AD" clId="Web-{CC60035C-D0C2-F98D-972A-7B9923580C23}"/>
    <pc:docChg chg="modSld sldOrd">
      <pc:chgData name="Thorat, Abhijit (VWITS India I-TF)" userId="S::abhijit.thorat@volkswagen.co.in::176f8634-a3a1-4767-ab2b-bdd6ead4bcc5" providerId="AD" clId="Web-{CC60035C-D0C2-F98D-972A-7B9923580C23}" dt="2025-06-17T06:42:21.855" v="366"/>
      <pc:docMkLst>
        <pc:docMk/>
      </pc:docMkLst>
      <pc:sldChg chg="modSp">
        <pc:chgData name="Thorat, Abhijit (VWITS India I-TF)" userId="S::abhijit.thorat@volkswagen.co.in::176f8634-a3a1-4767-ab2b-bdd6ead4bcc5" providerId="AD" clId="Web-{CC60035C-D0C2-F98D-972A-7B9923580C23}" dt="2025-06-17T06:37:03.641" v="309" actId="20577"/>
        <pc:sldMkLst>
          <pc:docMk/>
          <pc:sldMk cId="1719958439" sldId="2147481309"/>
        </pc:sldMkLst>
      </pc:sldChg>
      <pc:sldChg chg="delSp modSp">
        <pc:chgData name="Thorat, Abhijit (VWITS India I-TF)" userId="S::abhijit.thorat@volkswagen.co.in::176f8634-a3a1-4767-ab2b-bdd6ead4bcc5" providerId="AD" clId="Web-{CC60035C-D0C2-F98D-972A-7B9923580C23}" dt="2025-06-17T06:41:35.088" v="365"/>
        <pc:sldMkLst>
          <pc:docMk/>
          <pc:sldMk cId="2395488944" sldId="2147481311"/>
        </pc:sldMkLst>
        <pc:graphicFrameChg chg="mod modGraphic">
          <ac:chgData name="Thorat, Abhijit (VWITS India I-TF)" userId="S::abhijit.thorat@volkswagen.co.in::176f8634-a3a1-4767-ab2b-bdd6ead4bcc5" providerId="AD" clId="Web-{CC60035C-D0C2-F98D-972A-7B9923580C23}" dt="2025-06-17T06:41:35.088" v="365"/>
          <ac:graphicFrameMkLst>
            <pc:docMk/>
            <pc:sldMk cId="2395488944" sldId="2147481311"/>
            <ac:graphicFrameMk id="14" creationId="{01F4BC91-5B66-CE70-3564-145F58147F0D}"/>
          </ac:graphicFrameMkLst>
        </pc:graphicFrameChg>
      </pc:sldChg>
      <pc:sldChg chg="ord">
        <pc:chgData name="Thorat, Abhijit (VWITS India I-TF)" userId="S::abhijit.thorat@volkswagen.co.in::176f8634-a3a1-4767-ab2b-bdd6ead4bcc5" providerId="AD" clId="Web-{CC60035C-D0C2-F98D-972A-7B9923580C23}" dt="2025-06-17T06:42:21.855" v="366"/>
        <pc:sldMkLst>
          <pc:docMk/>
          <pc:sldMk cId="1117642453" sldId="2147481322"/>
        </pc:sldMkLst>
      </pc:sldChg>
    </pc:docChg>
  </pc:docChgLst>
  <pc:docChgLst>
    <pc:chgData name="Bangad, Dheeraj (VWITS India I-GT-F)" userId="3dd76c2d-0b00-432b-bea5-9d30b6b2c755" providerId="ADAL" clId="{6D3C91C1-F3BD-47B2-AD3F-9D409A807435}"/>
    <pc:docChg chg="custSel modSld sldOrd">
      <pc:chgData name="Bangad, Dheeraj (VWITS India I-GT-F)" userId="3dd76c2d-0b00-432b-bea5-9d30b6b2c755" providerId="ADAL" clId="{6D3C91C1-F3BD-47B2-AD3F-9D409A807435}" dt="2025-04-15T07:00:36.796" v="221" actId="1076"/>
      <pc:docMkLst>
        <pc:docMk/>
      </pc:docMkLst>
      <pc:sldChg chg="modSp mod">
        <pc:chgData name="Bangad, Dheeraj (VWITS India I-GT-F)" userId="3dd76c2d-0b00-432b-bea5-9d30b6b2c755" providerId="ADAL" clId="{6D3C91C1-F3BD-47B2-AD3F-9D409A807435}" dt="2025-04-15T06:59:26.048" v="220" actId="6549"/>
        <pc:sldMkLst>
          <pc:docMk/>
          <pc:sldMk cId="491906342" sldId="2147481236"/>
        </pc:sldMkLst>
        <pc:spChg chg="mod">
          <ac:chgData name="Bangad, Dheeraj (VWITS India I-GT-F)" userId="3dd76c2d-0b00-432b-bea5-9d30b6b2c755" providerId="ADAL" clId="{6D3C91C1-F3BD-47B2-AD3F-9D409A807435}" dt="2025-04-15T06:59:26.048" v="220" actId="6549"/>
          <ac:spMkLst>
            <pc:docMk/>
            <pc:sldMk cId="491906342" sldId="2147481236"/>
            <ac:spMk id="2" creationId="{C881C178-76DC-E091-FD83-36C729E73F9A}"/>
          </ac:spMkLst>
        </pc:spChg>
      </pc:sldChg>
      <pc:sldChg chg="modSp mod">
        <pc:chgData name="Bangad, Dheeraj (VWITS India I-GT-F)" userId="3dd76c2d-0b00-432b-bea5-9d30b6b2c755" providerId="ADAL" clId="{6D3C91C1-F3BD-47B2-AD3F-9D409A807435}" dt="2025-04-15T06:41:15.894" v="0" actId="1076"/>
        <pc:sldMkLst>
          <pc:docMk/>
          <pc:sldMk cId="3224003670" sldId="2147481239"/>
        </pc:sldMkLst>
        <pc:spChg chg="mod">
          <ac:chgData name="Bangad, Dheeraj (VWITS India I-GT-F)" userId="3dd76c2d-0b00-432b-bea5-9d30b6b2c755" providerId="ADAL" clId="{6D3C91C1-F3BD-47B2-AD3F-9D409A807435}" dt="2025-04-15T06:41:15.894" v="0" actId="1076"/>
          <ac:spMkLst>
            <pc:docMk/>
            <pc:sldMk cId="3224003670" sldId="2147481239"/>
            <ac:spMk id="14" creationId="{E85245E6-3207-DCD1-C5C0-04E6B09A8757}"/>
          </ac:spMkLst>
        </pc:spChg>
      </pc:sldChg>
      <pc:sldChg chg="modSp mod ord">
        <pc:chgData name="Bangad, Dheeraj (VWITS India I-GT-F)" userId="3dd76c2d-0b00-432b-bea5-9d30b6b2c755" providerId="ADAL" clId="{6D3C91C1-F3BD-47B2-AD3F-9D409A807435}" dt="2025-04-15T06:59:17.321" v="216"/>
        <pc:sldMkLst>
          <pc:docMk/>
          <pc:sldMk cId="3634853704" sldId="2147481292"/>
        </pc:sldMkLst>
        <pc:graphicFrameChg chg="modGraphic">
          <ac:chgData name="Bangad, Dheeraj (VWITS India I-GT-F)" userId="3dd76c2d-0b00-432b-bea5-9d30b6b2c755" providerId="ADAL" clId="{6D3C91C1-F3BD-47B2-AD3F-9D409A807435}" dt="2025-04-15T06:57:38.486" v="187" actId="6549"/>
          <ac:graphicFrameMkLst>
            <pc:docMk/>
            <pc:sldMk cId="3634853704" sldId="2147481292"/>
            <ac:graphicFrameMk id="14" creationId="{D891C622-9A79-2D43-EAD4-6B1B93911621}"/>
          </ac:graphicFrameMkLst>
        </pc:graphicFrameChg>
      </pc:sldChg>
      <pc:sldChg chg="modSp mod">
        <pc:chgData name="Bangad, Dheeraj (VWITS India I-GT-F)" userId="3dd76c2d-0b00-432b-bea5-9d30b6b2c755" providerId="ADAL" clId="{6D3C91C1-F3BD-47B2-AD3F-9D409A807435}" dt="2025-04-15T06:44:59.299" v="55" actId="20577"/>
        <pc:sldMkLst>
          <pc:docMk/>
          <pc:sldMk cId="3541850536" sldId="2147481301"/>
        </pc:sldMkLst>
        <pc:graphicFrameChg chg="modGraphic">
          <ac:chgData name="Bangad, Dheeraj (VWITS India I-GT-F)" userId="3dd76c2d-0b00-432b-bea5-9d30b6b2c755" providerId="ADAL" clId="{6D3C91C1-F3BD-47B2-AD3F-9D409A807435}" dt="2025-04-15T06:44:59.299" v="55" actId="20577"/>
          <ac:graphicFrameMkLst>
            <pc:docMk/>
            <pc:sldMk cId="3541850536" sldId="2147481301"/>
            <ac:graphicFrameMk id="14" creationId="{D891C622-9A79-2D43-EAD4-6B1B93911621}"/>
          </ac:graphicFrameMkLst>
        </pc:graphicFrameChg>
      </pc:sldChg>
      <pc:sldChg chg="delSp modSp mod">
        <pc:chgData name="Bangad, Dheeraj (VWITS India I-GT-F)" userId="3dd76c2d-0b00-432b-bea5-9d30b6b2c755" providerId="ADAL" clId="{6D3C91C1-F3BD-47B2-AD3F-9D409A807435}" dt="2025-04-15T06:52:06.383" v="139" actId="20577"/>
        <pc:sldMkLst>
          <pc:docMk/>
          <pc:sldMk cId="1719958439" sldId="2147481309"/>
        </pc:sldMkLst>
        <pc:graphicFrameChg chg="mod modGraphic">
          <ac:chgData name="Bangad, Dheeraj (VWITS India I-GT-F)" userId="3dd76c2d-0b00-432b-bea5-9d30b6b2c755" providerId="ADAL" clId="{6D3C91C1-F3BD-47B2-AD3F-9D409A807435}" dt="2025-04-15T06:52:06.383" v="139" actId="20577"/>
          <ac:graphicFrameMkLst>
            <pc:docMk/>
            <pc:sldMk cId="1719958439" sldId="2147481309"/>
            <ac:graphicFrameMk id="14" creationId="{4FB936CE-A19A-57AE-2AD9-0AC7D49B69F9}"/>
          </ac:graphicFrameMkLst>
        </pc:graphicFrameChg>
      </pc:sldChg>
      <pc:sldChg chg="delSp modSp mod">
        <pc:chgData name="Bangad, Dheeraj (VWITS India I-GT-F)" userId="3dd76c2d-0b00-432b-bea5-9d30b6b2c755" providerId="ADAL" clId="{6D3C91C1-F3BD-47B2-AD3F-9D409A807435}" dt="2025-04-15T06:59:09.336" v="214" actId="20577"/>
        <pc:sldMkLst>
          <pc:docMk/>
          <pc:sldMk cId="2395488944" sldId="2147481311"/>
        </pc:sldMkLst>
        <pc:graphicFrameChg chg="mod modGraphic">
          <ac:chgData name="Bangad, Dheeraj (VWITS India I-GT-F)" userId="3dd76c2d-0b00-432b-bea5-9d30b6b2c755" providerId="ADAL" clId="{6D3C91C1-F3BD-47B2-AD3F-9D409A807435}" dt="2025-04-15T06:59:09.336" v="214" actId="20577"/>
          <ac:graphicFrameMkLst>
            <pc:docMk/>
            <pc:sldMk cId="2395488944" sldId="2147481311"/>
            <ac:graphicFrameMk id="14" creationId="{01F4BC91-5B66-CE70-3564-145F58147F0D}"/>
          </ac:graphicFrameMkLst>
        </pc:graphicFrameChg>
      </pc:sldChg>
      <pc:sldChg chg="modSp mod">
        <pc:chgData name="Bangad, Dheeraj (VWITS India I-GT-F)" userId="3dd76c2d-0b00-432b-bea5-9d30b6b2c755" providerId="ADAL" clId="{6D3C91C1-F3BD-47B2-AD3F-9D409A807435}" dt="2025-04-15T07:00:36.796" v="221" actId="1076"/>
        <pc:sldMkLst>
          <pc:docMk/>
          <pc:sldMk cId="1290562163" sldId="2147481312"/>
        </pc:sldMkLst>
        <pc:graphicFrameChg chg="mod">
          <ac:chgData name="Bangad, Dheeraj (VWITS India I-GT-F)" userId="3dd76c2d-0b00-432b-bea5-9d30b6b2c755" providerId="ADAL" clId="{6D3C91C1-F3BD-47B2-AD3F-9D409A807435}" dt="2025-04-15T07:00:36.796" v="221" actId="1076"/>
          <ac:graphicFrameMkLst>
            <pc:docMk/>
            <pc:sldMk cId="1290562163" sldId="2147481312"/>
            <ac:graphicFrameMk id="14" creationId="{D1521D5A-A78A-B5D8-0F79-4125685CABF8}"/>
          </ac:graphicFrameMkLst>
        </pc:graphicFrameChg>
      </pc:sldChg>
      <pc:sldChg chg="modSp mod">
        <pc:chgData name="Bangad, Dheeraj (VWITS India I-GT-F)" userId="3dd76c2d-0b00-432b-bea5-9d30b6b2c755" providerId="ADAL" clId="{6D3C91C1-F3BD-47B2-AD3F-9D409A807435}" dt="2025-04-15T06:56:10.397" v="184" actId="313"/>
        <pc:sldMkLst>
          <pc:docMk/>
          <pc:sldMk cId="468884632" sldId="2147481313"/>
        </pc:sldMkLst>
        <pc:graphicFrameChg chg="modGraphic">
          <ac:chgData name="Bangad, Dheeraj (VWITS India I-GT-F)" userId="3dd76c2d-0b00-432b-bea5-9d30b6b2c755" providerId="ADAL" clId="{6D3C91C1-F3BD-47B2-AD3F-9D409A807435}" dt="2025-04-15T06:56:10.397" v="184" actId="313"/>
          <ac:graphicFrameMkLst>
            <pc:docMk/>
            <pc:sldMk cId="468884632" sldId="2147481313"/>
            <ac:graphicFrameMk id="14" creationId="{084666B7-3704-B585-2D49-28AD65F6182C}"/>
          </ac:graphicFrameMkLst>
        </pc:graphicFrameChg>
      </pc:sldChg>
    </pc:docChg>
  </pc:docChgLst>
  <pc:docChgLst>
    <pc:chgData name="Thorat, Abhijit (VWITS India I-T-F)" userId="S::abhijit.thorat@volkswagen.co.in::176f8634-a3a1-4767-ab2b-bdd6ead4bcc5" providerId="AD" clId="Web-{0ED8206D-E258-A497-CABD-5693579B2511}"/>
    <pc:docChg chg="modSld">
      <pc:chgData name="Thorat, Abhijit (VWITS India I-T-F)" userId="S::abhijit.thorat@volkswagen.co.in::176f8634-a3a1-4767-ab2b-bdd6ead4bcc5" providerId="AD" clId="Web-{0ED8206D-E258-A497-CABD-5693579B2511}" dt="2025-04-15T03:23:09.272" v="531"/>
      <pc:docMkLst>
        <pc:docMk/>
      </pc:docMkLst>
      <pc:sldChg chg="delSp modSp">
        <pc:chgData name="Thorat, Abhijit (VWITS India I-T-F)" userId="S::abhijit.thorat@volkswagen.co.in::176f8634-a3a1-4767-ab2b-bdd6ead4bcc5" providerId="AD" clId="Web-{0ED8206D-E258-A497-CABD-5693579B2511}" dt="2025-04-15T03:22:29.568" v="491"/>
        <pc:sldMkLst>
          <pc:docMk/>
          <pc:sldMk cId="3634853704" sldId="2147481292"/>
        </pc:sldMkLst>
        <pc:graphicFrameChg chg="mod modGraphic">
          <ac:chgData name="Thorat, Abhijit (VWITS India I-T-F)" userId="S::abhijit.thorat@volkswagen.co.in::176f8634-a3a1-4767-ab2b-bdd6ead4bcc5" providerId="AD" clId="Web-{0ED8206D-E258-A497-CABD-5693579B2511}" dt="2025-04-15T03:22:29.568" v="491"/>
          <ac:graphicFrameMkLst>
            <pc:docMk/>
            <pc:sldMk cId="3634853704" sldId="2147481292"/>
            <ac:graphicFrameMk id="14" creationId="{D891C622-9A79-2D43-EAD4-6B1B93911621}"/>
          </ac:graphicFrameMkLst>
        </pc:graphicFrameChg>
      </pc:sldChg>
      <pc:sldChg chg="modSp">
        <pc:chgData name="Thorat, Abhijit (VWITS India I-T-F)" userId="S::abhijit.thorat@volkswagen.co.in::176f8634-a3a1-4767-ab2b-bdd6ead4bcc5" providerId="AD" clId="Web-{0ED8206D-E258-A497-CABD-5693579B2511}" dt="2025-04-15T03:23:09.272" v="531"/>
        <pc:sldMkLst>
          <pc:docMk/>
          <pc:sldMk cId="2395488944" sldId="2147481311"/>
        </pc:sldMkLst>
        <pc:graphicFrameChg chg="mod modGraphic">
          <ac:chgData name="Thorat, Abhijit (VWITS India I-T-F)" userId="S::abhijit.thorat@volkswagen.co.in::176f8634-a3a1-4767-ab2b-bdd6ead4bcc5" providerId="AD" clId="Web-{0ED8206D-E258-A497-CABD-5693579B2511}" dt="2025-04-15T03:23:09.272" v="531"/>
          <ac:graphicFrameMkLst>
            <pc:docMk/>
            <pc:sldMk cId="2395488944" sldId="2147481311"/>
            <ac:graphicFrameMk id="14" creationId="{01F4BC91-5B66-CE70-3564-145F58147F0D}"/>
          </ac:graphicFrameMkLst>
        </pc:graphicFrameChg>
      </pc:sldChg>
    </pc:docChg>
  </pc:docChgLst>
  <pc:docChgLst>
    <pc:chgData name="Chakravarthy, Praveen (VWITS India I-TF)" userId="S::praveen.chakravarthy@volkswagen.co.in::5c183e1a-0ec9-4025-9668-b3f7b751ace7" providerId="AD" clId="Web-{10ED3952-19D8-79A8-8647-8FDF6F7865FF}"/>
    <pc:docChg chg="modSld">
      <pc:chgData name="Chakravarthy, Praveen (VWITS India I-TF)" userId="S::praveen.chakravarthy@volkswagen.co.in::5c183e1a-0ec9-4025-9668-b3f7b751ace7" providerId="AD" clId="Web-{10ED3952-19D8-79A8-8647-8FDF6F7865FF}" dt="2025-06-17T06:23:44.733" v="174" actId="1076"/>
      <pc:docMkLst>
        <pc:docMk/>
      </pc:docMkLst>
      <pc:sldChg chg="addSp delSp modSp">
        <pc:chgData name="Chakravarthy, Praveen (VWITS India I-TF)" userId="S::praveen.chakravarthy@volkswagen.co.in::5c183e1a-0ec9-4025-9668-b3f7b751ace7" providerId="AD" clId="Web-{10ED3952-19D8-79A8-8647-8FDF6F7865FF}" dt="2025-06-17T06:23:44.733" v="174" actId="1076"/>
        <pc:sldMkLst>
          <pc:docMk/>
          <pc:sldMk cId="2809793972" sldId="2147481327"/>
        </pc:sldMkLst>
        <pc:picChg chg="add mod">
          <ac:chgData name="Chakravarthy, Praveen (VWITS India I-TF)" userId="S::praveen.chakravarthy@volkswagen.co.in::5c183e1a-0ec9-4025-9668-b3f7b751ace7" providerId="AD" clId="Web-{10ED3952-19D8-79A8-8647-8FDF6F7865FF}" dt="2025-06-17T06:19:38.202" v="16" actId="1076"/>
          <ac:picMkLst>
            <pc:docMk/>
            <pc:sldMk cId="2809793972" sldId="2147481327"/>
            <ac:picMk id="6" creationId="{D316D647-66E3-68C6-59B8-0ABCD2806CB4}"/>
          </ac:picMkLst>
        </pc:picChg>
        <pc:picChg chg="add mod">
          <ac:chgData name="Chakravarthy, Praveen (VWITS India I-TF)" userId="S::praveen.chakravarthy@volkswagen.co.in::5c183e1a-0ec9-4025-9668-b3f7b751ace7" providerId="AD" clId="Web-{10ED3952-19D8-79A8-8647-8FDF6F7865FF}" dt="2025-06-17T06:20:47.265" v="25" actId="1076"/>
          <ac:picMkLst>
            <pc:docMk/>
            <pc:sldMk cId="2809793972" sldId="2147481327"/>
            <ac:picMk id="7" creationId="{7B205937-D8E9-BA24-D7FD-35AE6B79FE97}"/>
          </ac:picMkLst>
        </pc:picChg>
        <pc:picChg chg="add mod">
          <ac:chgData name="Chakravarthy, Praveen (VWITS India I-TF)" userId="S::praveen.chakravarthy@volkswagen.co.in::5c183e1a-0ec9-4025-9668-b3f7b751ace7" providerId="AD" clId="Web-{10ED3952-19D8-79A8-8647-8FDF6F7865FF}" dt="2025-06-17T06:20:41.686" v="24" actId="1076"/>
          <ac:picMkLst>
            <pc:docMk/>
            <pc:sldMk cId="2809793972" sldId="2147481327"/>
            <ac:picMk id="8" creationId="{D7D4B79E-A5EB-CA8C-E61C-D7D4116313C2}"/>
          </ac:picMkLst>
        </pc:picChg>
        <pc:picChg chg="mod">
          <ac:chgData name="Chakravarthy, Praveen (VWITS India I-TF)" userId="S::praveen.chakravarthy@volkswagen.co.in::5c183e1a-0ec9-4025-9668-b3f7b751ace7" providerId="AD" clId="Web-{10ED3952-19D8-79A8-8647-8FDF6F7865FF}" dt="2025-06-17T06:20:36.046" v="22" actId="1076"/>
          <ac:picMkLst>
            <pc:docMk/>
            <pc:sldMk cId="2809793972" sldId="2147481327"/>
            <ac:picMk id="15" creationId="{55CAEC6E-943D-03F1-BE53-A5E082E6078A}"/>
          </ac:picMkLst>
        </pc:picChg>
      </pc:sldChg>
    </pc:docChg>
  </pc:docChgLst>
  <pc:docChgLst>
    <pc:chgData name="Gupta, Nikhil (VWITS India I-GT-F)" userId="d94c4b01-03c4-4a71-84a6-558d9e07e369" providerId="ADAL" clId="{998F2D03-9F51-4472-88BB-F1843DC66C41}"/>
    <pc:docChg chg="undo custSel addSld modSld modSection">
      <pc:chgData name="Gupta, Nikhil (VWITS India I-GT-F)" userId="d94c4b01-03c4-4a71-84a6-558d9e07e369" providerId="ADAL" clId="{998F2D03-9F51-4472-88BB-F1843DC66C41}" dt="2025-04-10T10:38:58.499" v="1298" actId="20577"/>
      <pc:docMkLst>
        <pc:docMk/>
      </pc:docMkLst>
      <pc:sldChg chg="modSp mod">
        <pc:chgData name="Gupta, Nikhil (VWITS India I-GT-F)" userId="d94c4b01-03c4-4a71-84a6-558d9e07e369" providerId="ADAL" clId="{998F2D03-9F51-4472-88BB-F1843DC66C41}" dt="2025-04-10T09:57:50.051" v="26" actId="2165"/>
        <pc:sldMkLst>
          <pc:docMk/>
          <pc:sldMk cId="1719958439" sldId="2147481309"/>
        </pc:sldMkLst>
        <pc:graphicFrameChg chg="modGraphic">
          <ac:chgData name="Gupta, Nikhil (VWITS India I-GT-F)" userId="d94c4b01-03c4-4a71-84a6-558d9e07e369" providerId="ADAL" clId="{998F2D03-9F51-4472-88BB-F1843DC66C41}" dt="2025-04-10T09:57:50.051" v="26" actId="2165"/>
          <ac:graphicFrameMkLst>
            <pc:docMk/>
            <pc:sldMk cId="1719958439" sldId="2147481309"/>
            <ac:graphicFrameMk id="14" creationId="{4FB936CE-A19A-57AE-2AD9-0AC7D49B69F9}"/>
          </ac:graphicFrameMkLst>
        </pc:graphicFrameChg>
      </pc:sldChg>
      <pc:sldChg chg="modSp mod">
        <pc:chgData name="Gupta, Nikhil (VWITS India I-GT-F)" userId="d94c4b01-03c4-4a71-84a6-558d9e07e369" providerId="ADAL" clId="{998F2D03-9F51-4472-88BB-F1843DC66C41}" dt="2025-04-10T10:36:22.337" v="1257"/>
        <pc:sldMkLst>
          <pc:docMk/>
          <pc:sldMk cId="1290562163" sldId="2147481312"/>
        </pc:sldMkLst>
        <pc:graphicFrameChg chg="mod modGraphic">
          <ac:chgData name="Gupta, Nikhil (VWITS India I-GT-F)" userId="d94c4b01-03c4-4a71-84a6-558d9e07e369" providerId="ADAL" clId="{998F2D03-9F51-4472-88BB-F1843DC66C41}" dt="2025-04-10T10:36:22.337" v="1257"/>
          <ac:graphicFrameMkLst>
            <pc:docMk/>
            <pc:sldMk cId="1290562163" sldId="2147481312"/>
            <ac:graphicFrameMk id="14" creationId="{D1521D5A-A78A-B5D8-0F79-4125685CABF8}"/>
          </ac:graphicFrameMkLst>
        </pc:graphicFrameChg>
      </pc:sldChg>
      <pc:sldChg chg="delSp modSp add mod">
        <pc:chgData name="Gupta, Nikhil (VWITS India I-GT-F)" userId="d94c4b01-03c4-4a71-84a6-558d9e07e369" providerId="ADAL" clId="{998F2D03-9F51-4472-88BB-F1843DC66C41}" dt="2025-04-10T10:25:53.335" v="1110" actId="20577"/>
        <pc:sldMkLst>
          <pc:docMk/>
          <pc:sldMk cId="468884632" sldId="2147481313"/>
        </pc:sldMkLst>
        <pc:spChg chg="mod">
          <ac:chgData name="Gupta, Nikhil (VWITS India I-GT-F)" userId="d94c4b01-03c4-4a71-84a6-558d9e07e369" providerId="ADAL" clId="{998F2D03-9F51-4472-88BB-F1843DC66C41}" dt="2025-04-10T10:18:00.538" v="803" actId="20577"/>
          <ac:spMkLst>
            <pc:docMk/>
            <pc:sldMk cId="468884632" sldId="2147481313"/>
            <ac:spMk id="11" creationId="{C7BC1DA6-B5D2-5D0E-B524-F36FA6514809}"/>
          </ac:spMkLst>
        </pc:spChg>
        <pc:graphicFrameChg chg="mod modGraphic">
          <ac:chgData name="Gupta, Nikhil (VWITS India I-GT-F)" userId="d94c4b01-03c4-4a71-84a6-558d9e07e369" providerId="ADAL" clId="{998F2D03-9F51-4472-88BB-F1843DC66C41}" dt="2025-04-10T10:25:53.335" v="1110" actId="20577"/>
          <ac:graphicFrameMkLst>
            <pc:docMk/>
            <pc:sldMk cId="468884632" sldId="2147481313"/>
            <ac:graphicFrameMk id="14" creationId="{084666B7-3704-B585-2D49-28AD65F6182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BFE2D03-4212-A336-14CD-B822E4C7CFF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45BE652-F1AC-8D7C-ABC2-FFB7065C05E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8D7FAA0-3EE7-4B38-8EE9-40D288597A09}" type="datetimeFigureOut">
              <a:rPr lang="en-US" smtClean="0"/>
              <a:t>6/24/2025</a:t>
            </a:fld>
            <a:endParaRPr lang="en-US"/>
          </a:p>
        </p:txBody>
      </p:sp>
      <p:sp>
        <p:nvSpPr>
          <p:cNvPr id="4" name="Footer Placeholder 3">
            <a:extLst>
              <a:ext uri="{FF2B5EF4-FFF2-40B4-BE49-F238E27FC236}">
                <a16:creationId xmlns:a16="http://schemas.microsoft.com/office/drawing/2014/main" id="{6F8E32B1-DD01-0FC3-1AE6-7336966DD93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5BFCAC3-FC56-712C-F893-A406DF00D7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3EECD7-3B50-4FD5-87CA-324B27B108AD}" type="slidenum">
              <a:rPr lang="en-US" smtClean="0"/>
              <a:t>‹#›</a:t>
            </a:fld>
            <a:endParaRPr lang="en-US"/>
          </a:p>
        </p:txBody>
      </p:sp>
    </p:spTree>
    <p:extLst>
      <p:ext uri="{BB962C8B-B14F-4D97-AF65-F5344CB8AC3E}">
        <p14:creationId xmlns:p14="http://schemas.microsoft.com/office/powerpoint/2010/main" val="140490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8043D8-18E2-B14F-80F3-321A0B7B38AC}" type="datetimeFigureOut">
              <a:rPr lang="en-GB" smtClean="0"/>
              <a:t>24/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E00FE9-537A-CA4E-B1FB-A898AEF39DD0}" type="slidenum">
              <a:rPr lang="en-GB" smtClean="0"/>
              <a:t>‹#›</a:t>
            </a:fld>
            <a:endParaRPr lang="en-GB"/>
          </a:p>
        </p:txBody>
      </p:sp>
    </p:spTree>
    <p:extLst>
      <p:ext uri="{BB962C8B-B14F-4D97-AF65-F5344CB8AC3E}">
        <p14:creationId xmlns:p14="http://schemas.microsoft.com/office/powerpoint/2010/main" val="679819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23.sv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14.png"/><Relationship Id="rId11" Type="http://schemas.openxmlformats.org/officeDocument/2006/relationships/image" Target="../media/image125.svg"/><Relationship Id="rId5" Type="http://schemas.openxmlformats.org/officeDocument/2006/relationships/image" Target="../media/image122.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2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6" Type="http://schemas.openxmlformats.org/officeDocument/2006/relationships/image" Target="../media/image45.png"/><Relationship Id="rId21" Type="http://schemas.openxmlformats.org/officeDocument/2006/relationships/image" Target="../media/image132.sv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145.svg"/><Relationship Id="rId50" Type="http://schemas.openxmlformats.org/officeDocument/2006/relationships/image" Target="../media/image69.png"/><Relationship Id="rId55" Type="http://schemas.openxmlformats.org/officeDocument/2006/relationships/image" Target="../media/image149.svg"/><Relationship Id="rId63" Type="http://schemas.openxmlformats.org/officeDocument/2006/relationships/image" Target="../media/image82.svg"/><Relationship Id="rId7" Type="http://schemas.openxmlformats.org/officeDocument/2006/relationships/image" Target="../media/image126.svg"/><Relationship Id="rId2" Type="http://schemas.openxmlformats.org/officeDocument/2006/relationships/image" Target="../media/image21.png"/><Relationship Id="rId16" Type="http://schemas.openxmlformats.org/officeDocument/2006/relationships/image" Target="../media/image35.png"/><Relationship Id="rId29" Type="http://schemas.openxmlformats.org/officeDocument/2006/relationships/image" Target="../media/image136.svg"/><Relationship Id="rId11" Type="http://schemas.openxmlformats.org/officeDocument/2006/relationships/image" Target="../media/image127.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140.svg"/><Relationship Id="rId40" Type="http://schemas.openxmlformats.org/officeDocument/2006/relationships/image" Target="../media/image59.png"/><Relationship Id="rId45" Type="http://schemas.openxmlformats.org/officeDocument/2006/relationships/image" Target="../media/image144.svg"/><Relationship Id="rId53" Type="http://schemas.openxmlformats.org/officeDocument/2006/relationships/image" Target="../media/image148.svg"/><Relationship Id="rId58" Type="http://schemas.openxmlformats.org/officeDocument/2006/relationships/image" Target="../media/image77.png"/><Relationship Id="rId5" Type="http://schemas.openxmlformats.org/officeDocument/2006/relationships/image" Target="../media/image24.svg"/><Relationship Id="rId61" Type="http://schemas.openxmlformats.org/officeDocument/2006/relationships/image" Target="../media/image152.svg"/><Relationship Id="rId19" Type="http://schemas.openxmlformats.org/officeDocument/2006/relationships/image" Target="../media/image131.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35.svg"/><Relationship Id="rId30" Type="http://schemas.openxmlformats.org/officeDocument/2006/relationships/image" Target="../media/image49.png"/><Relationship Id="rId35" Type="http://schemas.openxmlformats.org/officeDocument/2006/relationships/image" Target="../media/image139.svg"/><Relationship Id="rId43" Type="http://schemas.openxmlformats.org/officeDocument/2006/relationships/image" Target="../media/image143.svg"/><Relationship Id="rId48" Type="http://schemas.openxmlformats.org/officeDocument/2006/relationships/image" Target="../media/image67.png"/><Relationship Id="rId56" Type="http://schemas.openxmlformats.org/officeDocument/2006/relationships/image" Target="../media/image75.png"/><Relationship Id="rId64" Type="http://schemas.openxmlformats.org/officeDocument/2006/relationships/image" Target="../media/image83.png"/><Relationship Id="rId8" Type="http://schemas.openxmlformats.org/officeDocument/2006/relationships/image" Target="../media/image27.png"/><Relationship Id="rId51" Type="http://schemas.openxmlformats.org/officeDocument/2006/relationships/image" Target="../media/image147.svg"/><Relationship Id="rId3" Type="http://schemas.openxmlformats.org/officeDocument/2006/relationships/image" Target="../media/image22.svg"/><Relationship Id="rId12" Type="http://schemas.openxmlformats.org/officeDocument/2006/relationships/image" Target="../media/image31.png"/><Relationship Id="rId17" Type="http://schemas.openxmlformats.org/officeDocument/2006/relationships/image" Target="../media/image130.svg"/><Relationship Id="rId25" Type="http://schemas.openxmlformats.org/officeDocument/2006/relationships/image" Target="../media/image134.svg"/><Relationship Id="rId33" Type="http://schemas.openxmlformats.org/officeDocument/2006/relationships/image" Target="../media/image138.sv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151.svg"/><Relationship Id="rId20" Type="http://schemas.openxmlformats.org/officeDocument/2006/relationships/image" Target="../media/image39.png"/><Relationship Id="rId41" Type="http://schemas.openxmlformats.org/officeDocument/2006/relationships/image" Target="../media/image142.svg"/><Relationship Id="rId54" Type="http://schemas.openxmlformats.org/officeDocument/2006/relationships/image" Target="../media/image73.png"/><Relationship Id="rId62" Type="http://schemas.openxmlformats.org/officeDocument/2006/relationships/image" Target="../media/image81.png"/><Relationship Id="rId1" Type="http://schemas.openxmlformats.org/officeDocument/2006/relationships/slideMaster" Target="../slideMasters/slideMaster3.xml"/><Relationship Id="rId6" Type="http://schemas.openxmlformats.org/officeDocument/2006/relationships/image" Target="../media/image25.png"/><Relationship Id="rId15" Type="http://schemas.openxmlformats.org/officeDocument/2006/relationships/image" Target="../media/image129.svg"/><Relationship Id="rId23" Type="http://schemas.openxmlformats.org/officeDocument/2006/relationships/image" Target="../media/image133.sv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146.svg"/><Relationship Id="rId57" Type="http://schemas.openxmlformats.org/officeDocument/2006/relationships/image" Target="../media/image150.svg"/><Relationship Id="rId10" Type="http://schemas.openxmlformats.org/officeDocument/2006/relationships/image" Target="../media/image29.png"/><Relationship Id="rId31" Type="http://schemas.openxmlformats.org/officeDocument/2006/relationships/image" Target="../media/image137.sv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9.png"/><Relationship Id="rId65" Type="http://schemas.openxmlformats.org/officeDocument/2006/relationships/image" Target="../media/image153.svg"/><Relationship Id="rId4" Type="http://schemas.openxmlformats.org/officeDocument/2006/relationships/image" Target="../media/image23.png"/><Relationship Id="rId9" Type="http://schemas.openxmlformats.org/officeDocument/2006/relationships/image" Target="../media/image28.svg"/><Relationship Id="rId13" Type="http://schemas.openxmlformats.org/officeDocument/2006/relationships/image" Target="../media/image128.svg"/><Relationship Id="rId18" Type="http://schemas.openxmlformats.org/officeDocument/2006/relationships/image" Target="../media/image37.png"/><Relationship Id="rId39" Type="http://schemas.openxmlformats.org/officeDocument/2006/relationships/image" Target="../media/image141.svg"/></Relationships>
</file>

<file path=ppt/slideLayouts/_rels/slideLayout137.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3.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3.xml"/><Relationship Id="rId4" Type="http://schemas.openxmlformats.org/officeDocument/2006/relationships/image" Target="../media/image118.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4.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4.xml"/><Relationship Id="rId4" Type="http://schemas.openxmlformats.org/officeDocument/2006/relationships/image" Target="../media/image118.png"/></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5" Type="http://schemas.openxmlformats.org/officeDocument/2006/relationships/image" Target="../media/image121.png"/><Relationship Id="rId4" Type="http://schemas.openxmlformats.org/officeDocument/2006/relationships/image" Target="../media/image160.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6.xml"/><Relationship Id="rId5" Type="http://schemas.openxmlformats.org/officeDocument/2006/relationships/image" Target="../media/image121.png"/><Relationship Id="rId4" Type="http://schemas.openxmlformats.org/officeDocument/2006/relationships/image" Target="../media/image160.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121.png"/><Relationship Id="rId4" Type="http://schemas.openxmlformats.org/officeDocument/2006/relationships/image" Target="../media/image160.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8.xml"/><Relationship Id="rId5" Type="http://schemas.openxmlformats.org/officeDocument/2006/relationships/image" Target="../media/image121.png"/><Relationship Id="rId4" Type="http://schemas.openxmlformats.org/officeDocument/2006/relationships/image" Target="../media/image160.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60.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160.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6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119.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119.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119.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19.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11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119.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19.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19.xml"/><Relationship Id="rId5" Type="http://schemas.openxmlformats.org/officeDocument/2006/relationships/image" Target="../media/image161.jpeg"/><Relationship Id="rId4" Type="http://schemas.openxmlformats.org/officeDocument/2006/relationships/image" Target="../media/image160.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19.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1.xml"/><Relationship Id="rId5" Type="http://schemas.openxmlformats.org/officeDocument/2006/relationships/image" Target="../media/image161.jpeg"/><Relationship Id="rId4" Type="http://schemas.openxmlformats.org/officeDocument/2006/relationships/image" Target="../media/image160.emf"/></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66.svg"/><Relationship Id="rId2" Type="http://schemas.openxmlformats.org/officeDocument/2006/relationships/image" Target="../media/image10.jpeg"/><Relationship Id="rId1" Type="http://schemas.openxmlformats.org/officeDocument/2006/relationships/slideMaster" Target="../slideMasters/slideMaster6.xml"/><Relationship Id="rId6" Type="http://schemas.openxmlformats.org/officeDocument/2006/relationships/image" Target="../media/image14.png"/><Relationship Id="rId11" Type="http://schemas.openxmlformats.org/officeDocument/2006/relationships/image" Target="../media/image168.svg"/><Relationship Id="rId5" Type="http://schemas.openxmlformats.org/officeDocument/2006/relationships/image" Target="../media/image165.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67.sv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6" Type="http://schemas.openxmlformats.org/officeDocument/2006/relationships/image" Target="../media/image45.png"/><Relationship Id="rId21" Type="http://schemas.openxmlformats.org/officeDocument/2006/relationships/image" Target="../media/image178.sv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191.svg"/><Relationship Id="rId50" Type="http://schemas.openxmlformats.org/officeDocument/2006/relationships/image" Target="../media/image69.png"/><Relationship Id="rId55" Type="http://schemas.openxmlformats.org/officeDocument/2006/relationships/image" Target="../media/image195.svg"/><Relationship Id="rId63" Type="http://schemas.openxmlformats.org/officeDocument/2006/relationships/image" Target="../media/image199.svg"/><Relationship Id="rId7" Type="http://schemas.openxmlformats.org/officeDocument/2006/relationships/image" Target="../media/image171.svg"/><Relationship Id="rId2" Type="http://schemas.openxmlformats.org/officeDocument/2006/relationships/image" Target="../media/image21.png"/><Relationship Id="rId16" Type="http://schemas.openxmlformats.org/officeDocument/2006/relationships/image" Target="../media/image35.png"/><Relationship Id="rId29" Type="http://schemas.openxmlformats.org/officeDocument/2006/relationships/image" Target="../media/image182.svg"/><Relationship Id="rId11" Type="http://schemas.openxmlformats.org/officeDocument/2006/relationships/image" Target="../media/image173.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186.svg"/><Relationship Id="rId40" Type="http://schemas.openxmlformats.org/officeDocument/2006/relationships/image" Target="../media/image59.png"/><Relationship Id="rId45" Type="http://schemas.openxmlformats.org/officeDocument/2006/relationships/image" Target="../media/image190.svg"/><Relationship Id="rId53" Type="http://schemas.openxmlformats.org/officeDocument/2006/relationships/image" Target="../media/image194.svg"/><Relationship Id="rId58" Type="http://schemas.openxmlformats.org/officeDocument/2006/relationships/image" Target="../media/image77.png"/><Relationship Id="rId5" Type="http://schemas.openxmlformats.org/officeDocument/2006/relationships/image" Target="../media/image170.svg"/><Relationship Id="rId61" Type="http://schemas.openxmlformats.org/officeDocument/2006/relationships/image" Target="../media/image198.svg"/><Relationship Id="rId19" Type="http://schemas.openxmlformats.org/officeDocument/2006/relationships/image" Target="../media/image177.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81.svg"/><Relationship Id="rId30" Type="http://schemas.openxmlformats.org/officeDocument/2006/relationships/image" Target="../media/image49.png"/><Relationship Id="rId35" Type="http://schemas.openxmlformats.org/officeDocument/2006/relationships/image" Target="../media/image185.svg"/><Relationship Id="rId43" Type="http://schemas.openxmlformats.org/officeDocument/2006/relationships/image" Target="../media/image189.svg"/><Relationship Id="rId48" Type="http://schemas.openxmlformats.org/officeDocument/2006/relationships/image" Target="../media/image67.png"/><Relationship Id="rId56" Type="http://schemas.openxmlformats.org/officeDocument/2006/relationships/image" Target="../media/image75.png"/><Relationship Id="rId64" Type="http://schemas.openxmlformats.org/officeDocument/2006/relationships/image" Target="../media/image83.png"/><Relationship Id="rId8" Type="http://schemas.openxmlformats.org/officeDocument/2006/relationships/image" Target="../media/image27.png"/><Relationship Id="rId51" Type="http://schemas.openxmlformats.org/officeDocument/2006/relationships/image" Target="../media/image193.svg"/><Relationship Id="rId3" Type="http://schemas.openxmlformats.org/officeDocument/2006/relationships/image" Target="../media/image169.svg"/><Relationship Id="rId12" Type="http://schemas.openxmlformats.org/officeDocument/2006/relationships/image" Target="../media/image31.png"/><Relationship Id="rId17" Type="http://schemas.openxmlformats.org/officeDocument/2006/relationships/image" Target="../media/image176.svg"/><Relationship Id="rId25" Type="http://schemas.openxmlformats.org/officeDocument/2006/relationships/image" Target="../media/image180.svg"/><Relationship Id="rId33" Type="http://schemas.openxmlformats.org/officeDocument/2006/relationships/image" Target="../media/image184.sv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197.svg"/><Relationship Id="rId20" Type="http://schemas.openxmlformats.org/officeDocument/2006/relationships/image" Target="../media/image39.png"/><Relationship Id="rId41" Type="http://schemas.openxmlformats.org/officeDocument/2006/relationships/image" Target="../media/image188.svg"/><Relationship Id="rId54" Type="http://schemas.openxmlformats.org/officeDocument/2006/relationships/image" Target="../media/image73.png"/><Relationship Id="rId62" Type="http://schemas.openxmlformats.org/officeDocument/2006/relationships/image" Target="../media/image81.png"/><Relationship Id="rId1" Type="http://schemas.openxmlformats.org/officeDocument/2006/relationships/slideMaster" Target="../slideMasters/slideMaster6.xml"/><Relationship Id="rId6" Type="http://schemas.openxmlformats.org/officeDocument/2006/relationships/image" Target="../media/image25.png"/><Relationship Id="rId15" Type="http://schemas.openxmlformats.org/officeDocument/2006/relationships/image" Target="../media/image175.svg"/><Relationship Id="rId23" Type="http://schemas.openxmlformats.org/officeDocument/2006/relationships/image" Target="../media/image179.sv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192.svg"/><Relationship Id="rId57" Type="http://schemas.openxmlformats.org/officeDocument/2006/relationships/image" Target="../media/image196.svg"/><Relationship Id="rId10" Type="http://schemas.openxmlformats.org/officeDocument/2006/relationships/image" Target="../media/image29.png"/><Relationship Id="rId31" Type="http://schemas.openxmlformats.org/officeDocument/2006/relationships/image" Target="../media/image183.sv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9.png"/><Relationship Id="rId65" Type="http://schemas.openxmlformats.org/officeDocument/2006/relationships/image" Target="../media/image200.svg"/><Relationship Id="rId4" Type="http://schemas.openxmlformats.org/officeDocument/2006/relationships/image" Target="../media/image23.png"/><Relationship Id="rId9" Type="http://schemas.openxmlformats.org/officeDocument/2006/relationships/image" Target="../media/image172.svg"/><Relationship Id="rId13" Type="http://schemas.openxmlformats.org/officeDocument/2006/relationships/image" Target="../media/image174.svg"/><Relationship Id="rId18" Type="http://schemas.openxmlformats.org/officeDocument/2006/relationships/image" Target="../media/image37.png"/><Relationship Id="rId39" Type="http://schemas.openxmlformats.org/officeDocument/2006/relationships/image" Target="../media/image187.svg"/></Relationships>
</file>

<file path=ppt/slideLayouts/_rels/slideLayout209.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6.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6.xml"/><Relationship Id="rId4" Type="http://schemas.openxmlformats.org/officeDocument/2006/relationships/image" Target="../media/image118.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7.sv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66.svg"/><Relationship Id="rId2" Type="http://schemas.openxmlformats.org/officeDocument/2006/relationships/image" Target="../media/image10.jpe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68.svg"/><Relationship Id="rId5" Type="http://schemas.openxmlformats.org/officeDocument/2006/relationships/image" Target="../media/image165.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67.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6" Type="http://schemas.openxmlformats.org/officeDocument/2006/relationships/image" Target="../media/image45.png"/><Relationship Id="rId21" Type="http://schemas.openxmlformats.org/officeDocument/2006/relationships/image" Target="../media/image178.sv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191.svg"/><Relationship Id="rId50" Type="http://schemas.openxmlformats.org/officeDocument/2006/relationships/image" Target="../media/image69.png"/><Relationship Id="rId55" Type="http://schemas.openxmlformats.org/officeDocument/2006/relationships/image" Target="../media/image195.svg"/><Relationship Id="rId63" Type="http://schemas.openxmlformats.org/officeDocument/2006/relationships/image" Target="../media/image199.svg"/><Relationship Id="rId7" Type="http://schemas.openxmlformats.org/officeDocument/2006/relationships/image" Target="../media/image171.svg"/><Relationship Id="rId2" Type="http://schemas.openxmlformats.org/officeDocument/2006/relationships/image" Target="../media/image21.png"/><Relationship Id="rId16" Type="http://schemas.openxmlformats.org/officeDocument/2006/relationships/image" Target="../media/image35.png"/><Relationship Id="rId29" Type="http://schemas.openxmlformats.org/officeDocument/2006/relationships/image" Target="../media/image182.svg"/><Relationship Id="rId11" Type="http://schemas.openxmlformats.org/officeDocument/2006/relationships/image" Target="../media/image173.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186.svg"/><Relationship Id="rId40" Type="http://schemas.openxmlformats.org/officeDocument/2006/relationships/image" Target="../media/image59.png"/><Relationship Id="rId45" Type="http://schemas.openxmlformats.org/officeDocument/2006/relationships/image" Target="../media/image190.svg"/><Relationship Id="rId53" Type="http://schemas.openxmlformats.org/officeDocument/2006/relationships/image" Target="../media/image194.svg"/><Relationship Id="rId58" Type="http://schemas.openxmlformats.org/officeDocument/2006/relationships/image" Target="../media/image77.png"/><Relationship Id="rId5" Type="http://schemas.openxmlformats.org/officeDocument/2006/relationships/image" Target="../media/image170.svg"/><Relationship Id="rId61" Type="http://schemas.openxmlformats.org/officeDocument/2006/relationships/image" Target="../media/image198.svg"/><Relationship Id="rId19" Type="http://schemas.openxmlformats.org/officeDocument/2006/relationships/image" Target="../media/image177.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81.svg"/><Relationship Id="rId30" Type="http://schemas.openxmlformats.org/officeDocument/2006/relationships/image" Target="../media/image49.png"/><Relationship Id="rId35" Type="http://schemas.openxmlformats.org/officeDocument/2006/relationships/image" Target="../media/image185.svg"/><Relationship Id="rId43" Type="http://schemas.openxmlformats.org/officeDocument/2006/relationships/image" Target="../media/image189.svg"/><Relationship Id="rId48" Type="http://schemas.openxmlformats.org/officeDocument/2006/relationships/image" Target="../media/image67.png"/><Relationship Id="rId56" Type="http://schemas.openxmlformats.org/officeDocument/2006/relationships/image" Target="../media/image75.png"/><Relationship Id="rId64" Type="http://schemas.openxmlformats.org/officeDocument/2006/relationships/image" Target="../media/image83.png"/><Relationship Id="rId8" Type="http://schemas.openxmlformats.org/officeDocument/2006/relationships/image" Target="../media/image27.png"/><Relationship Id="rId51" Type="http://schemas.openxmlformats.org/officeDocument/2006/relationships/image" Target="../media/image193.svg"/><Relationship Id="rId3" Type="http://schemas.openxmlformats.org/officeDocument/2006/relationships/image" Target="../media/image169.svg"/><Relationship Id="rId12" Type="http://schemas.openxmlformats.org/officeDocument/2006/relationships/image" Target="../media/image31.png"/><Relationship Id="rId17" Type="http://schemas.openxmlformats.org/officeDocument/2006/relationships/image" Target="../media/image176.svg"/><Relationship Id="rId25" Type="http://schemas.openxmlformats.org/officeDocument/2006/relationships/image" Target="../media/image180.svg"/><Relationship Id="rId33" Type="http://schemas.openxmlformats.org/officeDocument/2006/relationships/image" Target="../media/image184.sv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197.svg"/><Relationship Id="rId20" Type="http://schemas.openxmlformats.org/officeDocument/2006/relationships/image" Target="../media/image39.png"/><Relationship Id="rId41" Type="http://schemas.openxmlformats.org/officeDocument/2006/relationships/image" Target="../media/image188.svg"/><Relationship Id="rId54" Type="http://schemas.openxmlformats.org/officeDocument/2006/relationships/image" Target="../media/image73.png"/><Relationship Id="rId62" Type="http://schemas.openxmlformats.org/officeDocument/2006/relationships/image" Target="../media/image81.png"/><Relationship Id="rId1" Type="http://schemas.openxmlformats.org/officeDocument/2006/relationships/slideMaster" Target="../slideMasters/slideMaster7.xml"/><Relationship Id="rId6" Type="http://schemas.openxmlformats.org/officeDocument/2006/relationships/image" Target="../media/image25.png"/><Relationship Id="rId15" Type="http://schemas.openxmlformats.org/officeDocument/2006/relationships/image" Target="../media/image175.svg"/><Relationship Id="rId23" Type="http://schemas.openxmlformats.org/officeDocument/2006/relationships/image" Target="../media/image179.sv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192.svg"/><Relationship Id="rId57" Type="http://schemas.openxmlformats.org/officeDocument/2006/relationships/image" Target="../media/image196.svg"/><Relationship Id="rId10" Type="http://schemas.openxmlformats.org/officeDocument/2006/relationships/image" Target="../media/image29.png"/><Relationship Id="rId31" Type="http://schemas.openxmlformats.org/officeDocument/2006/relationships/image" Target="../media/image183.sv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9.png"/><Relationship Id="rId65" Type="http://schemas.openxmlformats.org/officeDocument/2006/relationships/image" Target="../media/image200.svg"/><Relationship Id="rId4" Type="http://schemas.openxmlformats.org/officeDocument/2006/relationships/image" Target="../media/image23.png"/><Relationship Id="rId9" Type="http://schemas.openxmlformats.org/officeDocument/2006/relationships/image" Target="../media/image172.svg"/><Relationship Id="rId13" Type="http://schemas.openxmlformats.org/officeDocument/2006/relationships/image" Target="../media/image174.svg"/><Relationship Id="rId18" Type="http://schemas.openxmlformats.org/officeDocument/2006/relationships/image" Target="../media/image37.png"/><Relationship Id="rId39" Type="http://schemas.openxmlformats.org/officeDocument/2006/relationships/image" Target="../media/image187.svg"/></Relationships>
</file>

<file path=ppt/slideLayouts/_rels/slideLayout256.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7.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7.xml"/><Relationship Id="rId4" Type="http://schemas.openxmlformats.org/officeDocument/2006/relationships/image" Target="../media/image118.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45.png"/><Relationship Id="rId21" Type="http://schemas.openxmlformats.org/officeDocument/2006/relationships/image" Target="../media/image40.sv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6.svg"/><Relationship Id="rId50" Type="http://schemas.openxmlformats.org/officeDocument/2006/relationships/image" Target="../media/image69.png"/><Relationship Id="rId55" Type="http://schemas.openxmlformats.org/officeDocument/2006/relationships/image" Target="../media/image74.svg"/><Relationship Id="rId63" Type="http://schemas.openxmlformats.org/officeDocument/2006/relationships/image" Target="../media/image82.svg"/><Relationship Id="rId7" Type="http://schemas.openxmlformats.org/officeDocument/2006/relationships/image" Target="../media/image26.svg"/><Relationship Id="rId2" Type="http://schemas.openxmlformats.org/officeDocument/2006/relationships/image" Target="../media/image21.png"/><Relationship Id="rId16" Type="http://schemas.openxmlformats.org/officeDocument/2006/relationships/image" Target="../media/image35.png"/><Relationship Id="rId29" Type="http://schemas.openxmlformats.org/officeDocument/2006/relationships/image" Target="../media/image48.svg"/><Relationship Id="rId11" Type="http://schemas.openxmlformats.org/officeDocument/2006/relationships/image" Target="../media/image30.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svg"/><Relationship Id="rId40" Type="http://schemas.openxmlformats.org/officeDocument/2006/relationships/image" Target="../media/image59.png"/><Relationship Id="rId45" Type="http://schemas.openxmlformats.org/officeDocument/2006/relationships/image" Target="../media/image64.svg"/><Relationship Id="rId53" Type="http://schemas.openxmlformats.org/officeDocument/2006/relationships/image" Target="../media/image72.svg"/><Relationship Id="rId58" Type="http://schemas.openxmlformats.org/officeDocument/2006/relationships/image" Target="../media/image77.png"/><Relationship Id="rId5" Type="http://schemas.openxmlformats.org/officeDocument/2006/relationships/image" Target="../media/image24.svg"/><Relationship Id="rId61" Type="http://schemas.openxmlformats.org/officeDocument/2006/relationships/image" Target="../media/image80.svg"/><Relationship Id="rId19" Type="http://schemas.openxmlformats.org/officeDocument/2006/relationships/image" Target="../media/image38.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svg"/><Relationship Id="rId30" Type="http://schemas.openxmlformats.org/officeDocument/2006/relationships/image" Target="../media/image49.png"/><Relationship Id="rId35" Type="http://schemas.openxmlformats.org/officeDocument/2006/relationships/image" Target="../media/image54.svg"/><Relationship Id="rId43" Type="http://schemas.openxmlformats.org/officeDocument/2006/relationships/image" Target="../media/image62.svg"/><Relationship Id="rId48" Type="http://schemas.openxmlformats.org/officeDocument/2006/relationships/image" Target="../media/image67.png"/><Relationship Id="rId56" Type="http://schemas.openxmlformats.org/officeDocument/2006/relationships/image" Target="../media/image75.png"/><Relationship Id="rId64" Type="http://schemas.openxmlformats.org/officeDocument/2006/relationships/image" Target="../media/image83.png"/><Relationship Id="rId8" Type="http://schemas.openxmlformats.org/officeDocument/2006/relationships/image" Target="../media/image27.png"/><Relationship Id="rId51" Type="http://schemas.openxmlformats.org/officeDocument/2006/relationships/image" Target="../media/image70.svg"/><Relationship Id="rId3" Type="http://schemas.openxmlformats.org/officeDocument/2006/relationships/image" Target="../media/image22.svg"/><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4.svg"/><Relationship Id="rId33" Type="http://schemas.openxmlformats.org/officeDocument/2006/relationships/image" Target="../media/image52.sv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78.svg"/><Relationship Id="rId20" Type="http://schemas.openxmlformats.org/officeDocument/2006/relationships/image" Target="../media/image39.png"/><Relationship Id="rId41" Type="http://schemas.openxmlformats.org/officeDocument/2006/relationships/image" Target="../media/image60.svg"/><Relationship Id="rId54" Type="http://schemas.openxmlformats.org/officeDocument/2006/relationships/image" Target="../media/image73.png"/><Relationship Id="rId62" Type="http://schemas.openxmlformats.org/officeDocument/2006/relationships/image" Target="../media/image81.png"/><Relationship Id="rId1" Type="http://schemas.openxmlformats.org/officeDocument/2006/relationships/slideMaster" Target="../slideMasters/slideMaster1.xml"/><Relationship Id="rId6" Type="http://schemas.openxmlformats.org/officeDocument/2006/relationships/image" Target="../media/image25.png"/><Relationship Id="rId15" Type="http://schemas.openxmlformats.org/officeDocument/2006/relationships/image" Target="../media/image34.svg"/><Relationship Id="rId23" Type="http://schemas.openxmlformats.org/officeDocument/2006/relationships/image" Target="../media/image42.sv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68.svg"/><Relationship Id="rId57" Type="http://schemas.openxmlformats.org/officeDocument/2006/relationships/image" Target="../media/image76.svg"/><Relationship Id="rId10" Type="http://schemas.openxmlformats.org/officeDocument/2006/relationships/image" Target="../media/image29.png"/><Relationship Id="rId31" Type="http://schemas.openxmlformats.org/officeDocument/2006/relationships/image" Target="../media/image50.sv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9.png"/><Relationship Id="rId65" Type="http://schemas.openxmlformats.org/officeDocument/2006/relationships/image" Target="../media/image84.svg"/><Relationship Id="rId4" Type="http://schemas.openxmlformats.org/officeDocument/2006/relationships/image" Target="../media/image23.png"/><Relationship Id="rId9" Type="http://schemas.openxmlformats.org/officeDocument/2006/relationships/image" Target="../media/image28.svg"/><Relationship Id="rId13" Type="http://schemas.openxmlformats.org/officeDocument/2006/relationships/image" Target="../media/image32.svg"/><Relationship Id="rId18" Type="http://schemas.openxmlformats.org/officeDocument/2006/relationships/image" Target="../media/image37.png"/><Relationship Id="rId39" Type="http://schemas.openxmlformats.org/officeDocument/2006/relationships/image" Target="../media/image58.svg"/></Relationships>
</file>

<file path=ppt/slideLayouts/_rels/slideLayout43.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1.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1.xml"/><Relationship Id="rId4" Type="http://schemas.openxmlformats.org/officeDocument/2006/relationships/image" Target="../media/image118.png"/></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19.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21.png"/><Relationship Id="rId4" Type="http://schemas.openxmlformats.org/officeDocument/2006/relationships/image" Target="../media/image120.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6" Type="http://schemas.openxmlformats.org/officeDocument/2006/relationships/image" Target="../media/image45.png"/><Relationship Id="rId21" Type="http://schemas.openxmlformats.org/officeDocument/2006/relationships/image" Target="../media/image40.sv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6.svg"/><Relationship Id="rId50" Type="http://schemas.openxmlformats.org/officeDocument/2006/relationships/image" Target="../media/image69.png"/><Relationship Id="rId55" Type="http://schemas.openxmlformats.org/officeDocument/2006/relationships/image" Target="../media/image74.svg"/><Relationship Id="rId63" Type="http://schemas.openxmlformats.org/officeDocument/2006/relationships/image" Target="../media/image82.svg"/><Relationship Id="rId7" Type="http://schemas.openxmlformats.org/officeDocument/2006/relationships/image" Target="../media/image26.svg"/><Relationship Id="rId2" Type="http://schemas.openxmlformats.org/officeDocument/2006/relationships/image" Target="../media/image21.png"/><Relationship Id="rId16" Type="http://schemas.openxmlformats.org/officeDocument/2006/relationships/image" Target="../media/image35.png"/><Relationship Id="rId29" Type="http://schemas.openxmlformats.org/officeDocument/2006/relationships/image" Target="../media/image48.svg"/><Relationship Id="rId11" Type="http://schemas.openxmlformats.org/officeDocument/2006/relationships/image" Target="../media/image30.sv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svg"/><Relationship Id="rId40" Type="http://schemas.openxmlformats.org/officeDocument/2006/relationships/image" Target="../media/image59.png"/><Relationship Id="rId45" Type="http://schemas.openxmlformats.org/officeDocument/2006/relationships/image" Target="../media/image64.svg"/><Relationship Id="rId53" Type="http://schemas.openxmlformats.org/officeDocument/2006/relationships/image" Target="../media/image72.svg"/><Relationship Id="rId58" Type="http://schemas.openxmlformats.org/officeDocument/2006/relationships/image" Target="../media/image77.png"/><Relationship Id="rId5" Type="http://schemas.openxmlformats.org/officeDocument/2006/relationships/image" Target="../media/image24.svg"/><Relationship Id="rId61" Type="http://schemas.openxmlformats.org/officeDocument/2006/relationships/image" Target="../media/image80.svg"/><Relationship Id="rId19" Type="http://schemas.openxmlformats.org/officeDocument/2006/relationships/image" Target="../media/image38.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svg"/><Relationship Id="rId30" Type="http://schemas.openxmlformats.org/officeDocument/2006/relationships/image" Target="../media/image49.png"/><Relationship Id="rId35" Type="http://schemas.openxmlformats.org/officeDocument/2006/relationships/image" Target="../media/image54.svg"/><Relationship Id="rId43" Type="http://schemas.openxmlformats.org/officeDocument/2006/relationships/image" Target="../media/image62.svg"/><Relationship Id="rId48" Type="http://schemas.openxmlformats.org/officeDocument/2006/relationships/image" Target="../media/image67.png"/><Relationship Id="rId56" Type="http://schemas.openxmlformats.org/officeDocument/2006/relationships/image" Target="../media/image75.png"/><Relationship Id="rId64" Type="http://schemas.openxmlformats.org/officeDocument/2006/relationships/image" Target="../media/image83.png"/><Relationship Id="rId8" Type="http://schemas.openxmlformats.org/officeDocument/2006/relationships/image" Target="../media/image27.png"/><Relationship Id="rId51" Type="http://schemas.openxmlformats.org/officeDocument/2006/relationships/image" Target="../media/image70.svg"/><Relationship Id="rId3" Type="http://schemas.openxmlformats.org/officeDocument/2006/relationships/image" Target="../media/image22.svg"/><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4.svg"/><Relationship Id="rId33" Type="http://schemas.openxmlformats.org/officeDocument/2006/relationships/image" Target="../media/image52.sv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78.svg"/><Relationship Id="rId20" Type="http://schemas.openxmlformats.org/officeDocument/2006/relationships/image" Target="../media/image39.png"/><Relationship Id="rId41" Type="http://schemas.openxmlformats.org/officeDocument/2006/relationships/image" Target="../media/image60.svg"/><Relationship Id="rId54" Type="http://schemas.openxmlformats.org/officeDocument/2006/relationships/image" Target="../media/image73.png"/><Relationship Id="rId62" Type="http://schemas.openxmlformats.org/officeDocument/2006/relationships/image" Target="../media/image81.png"/><Relationship Id="rId1" Type="http://schemas.openxmlformats.org/officeDocument/2006/relationships/slideMaster" Target="../slideMasters/slideMaster2.xml"/><Relationship Id="rId6" Type="http://schemas.openxmlformats.org/officeDocument/2006/relationships/image" Target="../media/image25.png"/><Relationship Id="rId15" Type="http://schemas.openxmlformats.org/officeDocument/2006/relationships/image" Target="../media/image34.svg"/><Relationship Id="rId23" Type="http://schemas.openxmlformats.org/officeDocument/2006/relationships/image" Target="../media/image42.sv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68.svg"/><Relationship Id="rId57" Type="http://schemas.openxmlformats.org/officeDocument/2006/relationships/image" Target="../media/image76.svg"/><Relationship Id="rId10" Type="http://schemas.openxmlformats.org/officeDocument/2006/relationships/image" Target="../media/image29.png"/><Relationship Id="rId31" Type="http://schemas.openxmlformats.org/officeDocument/2006/relationships/image" Target="../media/image50.sv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9.png"/><Relationship Id="rId65" Type="http://schemas.openxmlformats.org/officeDocument/2006/relationships/image" Target="../media/image84.svg"/><Relationship Id="rId4" Type="http://schemas.openxmlformats.org/officeDocument/2006/relationships/image" Target="../media/image23.png"/><Relationship Id="rId9" Type="http://schemas.openxmlformats.org/officeDocument/2006/relationships/image" Target="../media/image28.svg"/><Relationship Id="rId13" Type="http://schemas.openxmlformats.org/officeDocument/2006/relationships/image" Target="../media/image32.svg"/><Relationship Id="rId18" Type="http://schemas.openxmlformats.org/officeDocument/2006/relationships/image" Target="../media/image37.png"/><Relationship Id="rId39" Type="http://schemas.openxmlformats.org/officeDocument/2006/relationships/image" Target="../media/image58.svg"/></Relationships>
</file>

<file path=ppt/slideLayouts/_rels/slideLayout91.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5.png"/><Relationship Id="rId2" Type="http://schemas.openxmlformats.org/officeDocument/2006/relationships/image" Target="../media/image85.png"/><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1.png"/><Relationship Id="rId1" Type="http://schemas.openxmlformats.org/officeDocument/2006/relationships/slideMaster" Target="../slideMasters/slideMaster2.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4.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gif"/><Relationship Id="rId10" Type="http://schemas.openxmlformats.org/officeDocument/2006/relationships/image" Target="../media/image93.gif"/><Relationship Id="rId19" Type="http://schemas.openxmlformats.org/officeDocument/2006/relationships/image" Target="../media/image102.jpeg"/><Relationship Id="rId31" Type="http://schemas.openxmlformats.org/officeDocument/2006/relationships/image" Target="../media/image113.png"/><Relationship Id="rId4" Type="http://schemas.openxmlformats.org/officeDocument/2006/relationships/image" Target="../media/image87.pn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2.png"/><Relationship Id="rId8" Type="http://schemas.openxmlformats.org/officeDocument/2006/relationships/image" Target="../media/image9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2.xml"/><Relationship Id="rId4" Type="http://schemas.openxmlformats.org/officeDocument/2006/relationships/image" Target="../media/image118.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942833-ADA2-01A0-5255-F961897E4EB5}"/>
              </a:ext>
            </a:extLst>
          </p:cNvPr>
          <p:cNvSpPr/>
          <p:nvPr userDrawn="1"/>
        </p:nvSpPr>
        <p:spPr>
          <a:xfrm>
            <a:off x="601798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3" name="Rectangle 2">
            <a:extLst>
              <a:ext uri="{FF2B5EF4-FFF2-40B4-BE49-F238E27FC236}">
                <a16:creationId xmlns:a16="http://schemas.microsoft.com/office/drawing/2014/main" id="{EA79E996-51AD-E7DA-4E84-8E1059FD389A}"/>
              </a:ext>
            </a:extLst>
          </p:cNvPr>
          <p:cNvSpPr/>
          <p:nvPr userDrawn="1"/>
        </p:nvSpPr>
        <p:spPr>
          <a:xfrm>
            <a:off x="893151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4" name="Rectangle 3">
            <a:extLst>
              <a:ext uri="{FF2B5EF4-FFF2-40B4-BE49-F238E27FC236}">
                <a16:creationId xmlns:a16="http://schemas.microsoft.com/office/drawing/2014/main" id="{C6425C46-30C0-5F06-D4FF-5758FD453CBF}"/>
              </a:ext>
            </a:extLst>
          </p:cNvPr>
          <p:cNvSpPr/>
          <p:nvPr userDrawn="1"/>
        </p:nvSpPr>
        <p:spPr>
          <a:xfrm>
            <a:off x="601798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5" name="Rectangle 4">
            <a:extLst>
              <a:ext uri="{FF2B5EF4-FFF2-40B4-BE49-F238E27FC236}">
                <a16:creationId xmlns:a16="http://schemas.microsoft.com/office/drawing/2014/main" id="{C90C0C32-757A-E7F7-8793-06137DBCE736}"/>
              </a:ext>
            </a:extLst>
          </p:cNvPr>
          <p:cNvSpPr/>
          <p:nvPr userDrawn="1"/>
        </p:nvSpPr>
        <p:spPr>
          <a:xfrm>
            <a:off x="893151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14" name="Picture Placeholder 13">
            <a:extLst>
              <a:ext uri="{FF2B5EF4-FFF2-40B4-BE49-F238E27FC236}">
                <a16:creationId xmlns:a16="http://schemas.microsoft.com/office/drawing/2014/main" id="{01C83F7C-919E-41AE-5838-3503CB7BCEEE}"/>
              </a:ext>
            </a:extLst>
          </p:cNvPr>
          <p:cNvSpPr>
            <a:spLocks noGrp="1"/>
          </p:cNvSpPr>
          <p:nvPr>
            <p:ph type="pic" sz="quarter" idx="10"/>
          </p:nvPr>
        </p:nvSpPr>
        <p:spPr>
          <a:xfrm>
            <a:off x="6121400" y="1159893"/>
            <a:ext cx="2717133" cy="1414546"/>
          </a:xfrm>
        </p:spPr>
        <p:txBody>
          <a:bodyPr/>
          <a:lstStyle/>
          <a:p>
            <a:endParaRPr lang="en-US"/>
          </a:p>
        </p:txBody>
      </p:sp>
      <p:sp>
        <p:nvSpPr>
          <p:cNvPr id="15" name="Picture Placeholder 13">
            <a:extLst>
              <a:ext uri="{FF2B5EF4-FFF2-40B4-BE49-F238E27FC236}">
                <a16:creationId xmlns:a16="http://schemas.microsoft.com/office/drawing/2014/main" id="{78B9F559-C3AA-F485-DD5D-A705582A07AB}"/>
              </a:ext>
            </a:extLst>
          </p:cNvPr>
          <p:cNvSpPr>
            <a:spLocks noGrp="1"/>
          </p:cNvSpPr>
          <p:nvPr>
            <p:ph type="pic" sz="quarter" idx="11"/>
          </p:nvPr>
        </p:nvSpPr>
        <p:spPr>
          <a:xfrm>
            <a:off x="6121400" y="2699378"/>
            <a:ext cx="2717133" cy="1414546"/>
          </a:xfrm>
        </p:spPr>
        <p:txBody>
          <a:bodyPr/>
          <a:lstStyle/>
          <a:p>
            <a:endParaRPr lang="en-US"/>
          </a:p>
        </p:txBody>
      </p:sp>
      <p:sp>
        <p:nvSpPr>
          <p:cNvPr id="16" name="Picture Placeholder 13">
            <a:extLst>
              <a:ext uri="{FF2B5EF4-FFF2-40B4-BE49-F238E27FC236}">
                <a16:creationId xmlns:a16="http://schemas.microsoft.com/office/drawing/2014/main" id="{691745C2-20ED-E6C4-76E3-0B71CE78E6F9}"/>
              </a:ext>
            </a:extLst>
          </p:cNvPr>
          <p:cNvSpPr>
            <a:spLocks noGrp="1"/>
          </p:cNvSpPr>
          <p:nvPr>
            <p:ph type="pic" sz="quarter" idx="12"/>
          </p:nvPr>
        </p:nvSpPr>
        <p:spPr>
          <a:xfrm>
            <a:off x="8926980" y="2699835"/>
            <a:ext cx="2717133" cy="1414546"/>
          </a:xfrm>
        </p:spPr>
        <p:txBody>
          <a:bodyPr/>
          <a:lstStyle/>
          <a:p>
            <a:endParaRPr lang="en-US"/>
          </a:p>
        </p:txBody>
      </p:sp>
      <p:sp>
        <p:nvSpPr>
          <p:cNvPr id="17" name="Picture Placeholder 13">
            <a:extLst>
              <a:ext uri="{FF2B5EF4-FFF2-40B4-BE49-F238E27FC236}">
                <a16:creationId xmlns:a16="http://schemas.microsoft.com/office/drawing/2014/main" id="{0945CF7A-0F86-AE08-7F62-2DFC49C1B441}"/>
              </a:ext>
            </a:extLst>
          </p:cNvPr>
          <p:cNvSpPr>
            <a:spLocks noGrp="1"/>
          </p:cNvSpPr>
          <p:nvPr>
            <p:ph type="pic" sz="quarter" idx="13"/>
          </p:nvPr>
        </p:nvSpPr>
        <p:spPr>
          <a:xfrm>
            <a:off x="8940525" y="1154829"/>
            <a:ext cx="2717133" cy="1411986"/>
          </a:xfrm>
        </p:spPr>
        <p:txBody>
          <a:bodyPr/>
          <a:lstStyle/>
          <a:p>
            <a:endParaRPr lang="en-US"/>
          </a:p>
        </p:txBody>
      </p:sp>
      <p:sp>
        <p:nvSpPr>
          <p:cNvPr id="28" name="TextBox 27">
            <a:extLst>
              <a:ext uri="{FF2B5EF4-FFF2-40B4-BE49-F238E27FC236}">
                <a16:creationId xmlns:a16="http://schemas.microsoft.com/office/drawing/2014/main" id="{B7B8AE01-9AF8-78AB-A678-C6EA89145BCE}"/>
              </a:ext>
            </a:extLst>
          </p:cNvPr>
          <p:cNvSpPr txBox="1"/>
          <p:nvPr userDrawn="1"/>
        </p:nvSpPr>
        <p:spPr>
          <a:xfrm>
            <a:off x="5977289" y="4863366"/>
            <a:ext cx="481100" cy="152147"/>
          </a:xfrm>
          <a:prstGeom prst="rect">
            <a:avLst/>
          </a:prstGeom>
          <a:noFill/>
        </p:spPr>
        <p:txBody>
          <a:bodyPr wrap="none" lIns="0" tIns="0" rIns="0" bIns="0" rtlCol="0">
            <a:spAutoFit/>
          </a:bodyPr>
          <a:lstStyle/>
          <a:p>
            <a:pPr algn="l"/>
            <a:r>
              <a:rPr lang="en-US" sz="1000">
                <a:solidFill>
                  <a:schemeClr val="tx2"/>
                </a:solidFill>
              </a:rPr>
              <a:t>Q1 2024</a:t>
            </a:r>
          </a:p>
        </p:txBody>
      </p:sp>
      <p:sp>
        <p:nvSpPr>
          <p:cNvPr id="29" name="TextBox 28">
            <a:extLst>
              <a:ext uri="{FF2B5EF4-FFF2-40B4-BE49-F238E27FC236}">
                <a16:creationId xmlns:a16="http://schemas.microsoft.com/office/drawing/2014/main" id="{0CCBBDAE-E095-DCE4-9055-1E7168C8D7FA}"/>
              </a:ext>
            </a:extLst>
          </p:cNvPr>
          <p:cNvSpPr txBox="1"/>
          <p:nvPr userDrawn="1"/>
        </p:nvSpPr>
        <p:spPr>
          <a:xfrm>
            <a:off x="7148225" y="4863366"/>
            <a:ext cx="481100" cy="152147"/>
          </a:xfrm>
          <a:prstGeom prst="rect">
            <a:avLst/>
          </a:prstGeom>
          <a:noFill/>
        </p:spPr>
        <p:txBody>
          <a:bodyPr wrap="none" lIns="0" tIns="0" rIns="0" bIns="0" rtlCol="0">
            <a:spAutoFit/>
          </a:bodyPr>
          <a:lstStyle/>
          <a:p>
            <a:pPr algn="l"/>
            <a:r>
              <a:rPr lang="en-US" sz="1000">
                <a:solidFill>
                  <a:schemeClr val="tx2"/>
                </a:solidFill>
              </a:rPr>
              <a:t>Q2 2024</a:t>
            </a:r>
          </a:p>
        </p:txBody>
      </p:sp>
      <p:sp>
        <p:nvSpPr>
          <p:cNvPr id="30" name="TextBox 29">
            <a:extLst>
              <a:ext uri="{FF2B5EF4-FFF2-40B4-BE49-F238E27FC236}">
                <a16:creationId xmlns:a16="http://schemas.microsoft.com/office/drawing/2014/main" id="{D25D7463-756D-2EA8-9111-CE00AB55C700}"/>
              </a:ext>
            </a:extLst>
          </p:cNvPr>
          <p:cNvSpPr txBox="1"/>
          <p:nvPr userDrawn="1"/>
        </p:nvSpPr>
        <p:spPr>
          <a:xfrm>
            <a:off x="8319161" y="4863366"/>
            <a:ext cx="481100" cy="152147"/>
          </a:xfrm>
          <a:prstGeom prst="rect">
            <a:avLst/>
          </a:prstGeom>
          <a:noFill/>
        </p:spPr>
        <p:txBody>
          <a:bodyPr wrap="none" lIns="0" tIns="0" rIns="0" bIns="0" rtlCol="0">
            <a:spAutoFit/>
          </a:bodyPr>
          <a:lstStyle/>
          <a:p>
            <a:pPr algn="l"/>
            <a:r>
              <a:rPr lang="en-US" sz="1000">
                <a:solidFill>
                  <a:schemeClr val="tx2"/>
                </a:solidFill>
              </a:rPr>
              <a:t>Q3 2024</a:t>
            </a:r>
          </a:p>
        </p:txBody>
      </p:sp>
      <p:sp>
        <p:nvSpPr>
          <p:cNvPr id="31" name="TextBox 30">
            <a:extLst>
              <a:ext uri="{FF2B5EF4-FFF2-40B4-BE49-F238E27FC236}">
                <a16:creationId xmlns:a16="http://schemas.microsoft.com/office/drawing/2014/main" id="{7728456F-9541-6FC2-473A-49E9B54EBB82}"/>
              </a:ext>
            </a:extLst>
          </p:cNvPr>
          <p:cNvSpPr txBox="1"/>
          <p:nvPr userDrawn="1"/>
        </p:nvSpPr>
        <p:spPr>
          <a:xfrm>
            <a:off x="9490097" y="4863366"/>
            <a:ext cx="481100" cy="152147"/>
          </a:xfrm>
          <a:prstGeom prst="rect">
            <a:avLst/>
          </a:prstGeom>
          <a:noFill/>
        </p:spPr>
        <p:txBody>
          <a:bodyPr wrap="none" lIns="0" tIns="0" rIns="0" bIns="0" rtlCol="0">
            <a:spAutoFit/>
          </a:bodyPr>
          <a:lstStyle/>
          <a:p>
            <a:pPr algn="l"/>
            <a:r>
              <a:rPr lang="en-US" sz="1000">
                <a:solidFill>
                  <a:schemeClr val="tx2"/>
                </a:solidFill>
              </a:rPr>
              <a:t>Q4 2024</a:t>
            </a:r>
          </a:p>
        </p:txBody>
      </p:sp>
      <p:sp>
        <p:nvSpPr>
          <p:cNvPr id="32" name="TextBox 31">
            <a:extLst>
              <a:ext uri="{FF2B5EF4-FFF2-40B4-BE49-F238E27FC236}">
                <a16:creationId xmlns:a16="http://schemas.microsoft.com/office/drawing/2014/main" id="{7C2DB3B9-9F74-66AF-B563-885CD85A06E8}"/>
              </a:ext>
            </a:extLst>
          </p:cNvPr>
          <p:cNvSpPr txBox="1"/>
          <p:nvPr userDrawn="1"/>
        </p:nvSpPr>
        <p:spPr>
          <a:xfrm>
            <a:off x="10661033" y="4839990"/>
            <a:ext cx="481100" cy="152147"/>
          </a:xfrm>
          <a:prstGeom prst="rect">
            <a:avLst/>
          </a:prstGeom>
          <a:noFill/>
        </p:spPr>
        <p:txBody>
          <a:bodyPr wrap="none" lIns="0" tIns="0" rIns="0" bIns="0" rtlCol="0">
            <a:spAutoFit/>
          </a:bodyPr>
          <a:lstStyle/>
          <a:p>
            <a:pPr algn="l"/>
            <a:r>
              <a:rPr lang="en-US" sz="1000">
                <a:solidFill>
                  <a:schemeClr val="tx2"/>
                </a:solidFill>
              </a:rPr>
              <a:t>Q1 2025</a:t>
            </a:r>
          </a:p>
        </p:txBody>
      </p:sp>
      <p:sp>
        <p:nvSpPr>
          <p:cNvPr id="34" name="TextBox 33">
            <a:extLst>
              <a:ext uri="{FF2B5EF4-FFF2-40B4-BE49-F238E27FC236}">
                <a16:creationId xmlns:a16="http://schemas.microsoft.com/office/drawing/2014/main" id="{28A3AA60-9329-6C37-75A3-928DD6064F87}"/>
              </a:ext>
            </a:extLst>
          </p:cNvPr>
          <p:cNvSpPr txBox="1"/>
          <p:nvPr userDrawn="1"/>
        </p:nvSpPr>
        <p:spPr>
          <a:xfrm>
            <a:off x="8618401" y="4501499"/>
            <a:ext cx="617157" cy="169277"/>
          </a:xfrm>
          <a:prstGeom prst="rect">
            <a:avLst/>
          </a:prstGeom>
          <a:noFill/>
        </p:spPr>
        <p:txBody>
          <a:bodyPr wrap="none" lIns="0" tIns="0" rIns="0" bIns="0" rtlCol="0">
            <a:spAutoFit/>
          </a:bodyPr>
          <a:lstStyle/>
          <a:p>
            <a:pPr algn="l"/>
            <a:r>
              <a:rPr lang="en-US" sz="1100">
                <a:solidFill>
                  <a:srgbClr val="00B0F0"/>
                </a:solidFill>
              </a:rPr>
              <a:t>Timelines</a:t>
            </a:r>
          </a:p>
        </p:txBody>
      </p:sp>
      <p:sp>
        <p:nvSpPr>
          <p:cNvPr id="39" name="TextBox 38">
            <a:extLst>
              <a:ext uri="{FF2B5EF4-FFF2-40B4-BE49-F238E27FC236}">
                <a16:creationId xmlns:a16="http://schemas.microsoft.com/office/drawing/2014/main" id="{328311FE-45C3-34DA-7655-6EB3BD111345}"/>
              </a:ext>
            </a:extLst>
          </p:cNvPr>
          <p:cNvSpPr txBox="1"/>
          <p:nvPr userDrawn="1"/>
        </p:nvSpPr>
        <p:spPr>
          <a:xfrm>
            <a:off x="11455869" y="4863366"/>
            <a:ext cx="189154" cy="153888"/>
          </a:xfrm>
          <a:prstGeom prst="rect">
            <a:avLst/>
          </a:prstGeom>
          <a:noFill/>
        </p:spPr>
        <p:txBody>
          <a:bodyPr wrap="none" lIns="0" tIns="0" rIns="0" bIns="0" rtlCol="0">
            <a:spAutoFit/>
          </a:bodyPr>
          <a:lstStyle/>
          <a:p>
            <a:pPr algn="l"/>
            <a:r>
              <a:rPr lang="en-US" sz="1000">
                <a:solidFill>
                  <a:schemeClr val="tx2"/>
                </a:solidFill>
              </a:rPr>
              <a:t>…….</a:t>
            </a:r>
          </a:p>
        </p:txBody>
      </p:sp>
      <p:sp>
        <p:nvSpPr>
          <p:cNvPr id="40" name="Rectangle 39">
            <a:extLst>
              <a:ext uri="{FF2B5EF4-FFF2-40B4-BE49-F238E27FC236}">
                <a16:creationId xmlns:a16="http://schemas.microsoft.com/office/drawing/2014/main" id="{9BA6CFEE-45C5-2B2C-5AEE-AC1501AE317F}"/>
              </a:ext>
            </a:extLst>
          </p:cNvPr>
          <p:cNvSpPr/>
          <p:nvPr userDrawn="1"/>
        </p:nvSpPr>
        <p:spPr>
          <a:xfrm>
            <a:off x="5977289" y="5208103"/>
            <a:ext cx="5787473" cy="983957"/>
          </a:xfrm>
          <a:prstGeom prst="rect">
            <a:avLst/>
          </a:prstGeom>
          <a:noFill/>
          <a:ln>
            <a:solidFill>
              <a:schemeClr val="bg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Tree>
    <p:extLst>
      <p:ext uri="{BB962C8B-B14F-4D97-AF65-F5344CB8AC3E}">
        <p14:creationId xmlns:p14="http://schemas.microsoft.com/office/powerpoint/2010/main" val="2792203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en-US"/>
              <a:t>Click icon to add picture</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176931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344595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2065715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696908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4272606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en-US"/>
              <a:t>Click icon to add picture</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354965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1825890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1384694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1768404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spTree>
    <p:extLst>
      <p:ext uri="{BB962C8B-B14F-4D97-AF65-F5344CB8AC3E}">
        <p14:creationId xmlns:p14="http://schemas.microsoft.com/office/powerpoint/2010/main" val="447203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3678476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91452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34685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343651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3079415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3743606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262735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149977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994030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899663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441428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50044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2856631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196921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817007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4118335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1285126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4292614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494262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645571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White</a:t>
            </a:r>
            <a:endParaRPr lang="en-IN"/>
          </a:p>
        </p:txBody>
      </p:sp>
    </p:spTree>
    <p:extLst>
      <p:ext uri="{BB962C8B-B14F-4D97-AF65-F5344CB8AC3E}">
        <p14:creationId xmlns:p14="http://schemas.microsoft.com/office/powerpoint/2010/main" val="1093066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a:t>Headline in The Group Head Light 28pt, Deep Space Blue</a:t>
            </a:r>
            <a:endParaRPr lang="en-IN"/>
          </a:p>
        </p:txBody>
      </p:sp>
    </p:spTree>
    <p:extLst>
      <p:ext uri="{BB962C8B-B14F-4D97-AF65-F5344CB8AC3E}">
        <p14:creationId xmlns:p14="http://schemas.microsoft.com/office/powerpoint/2010/main" val="3966316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15921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3666986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522077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532671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280475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4106828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a:t>Relevant assets available on the Volkswagen Group CD portal.</a:t>
            </a:r>
            <a:endParaRPr lang="en-GB" sz="1200"/>
          </a:p>
          <a:p>
            <a:endParaRPr lang="en-GB" sz="120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744669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4077665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3245680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3147104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se content status markers are available as graphic assets you can copy from master view.</a:t>
            </a:r>
          </a:p>
          <a:p>
            <a:r>
              <a:rPr lang="en-GB" b="0">
                <a:solidFill>
                  <a:schemeClr val="tx2"/>
                </a:solidFill>
              </a:rPr>
              <a:t>The selected tag will need to be placed </a:t>
            </a:r>
            <a:br>
              <a:rPr lang="en-GB" b="0">
                <a:solidFill>
                  <a:schemeClr val="tx2"/>
                </a:solidFill>
              </a:rPr>
            </a:br>
            <a:r>
              <a:rPr lang="en-GB" b="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149905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 classification set as public, internal, confidential and secret will be automatically set by Office 365. </a:t>
            </a:r>
            <a:br>
              <a:rPr lang="en-GB" b="0">
                <a:solidFill>
                  <a:schemeClr val="tx2"/>
                </a:solidFill>
              </a:rPr>
            </a:br>
            <a:r>
              <a:rPr lang="en-GB" b="0">
                <a:solidFill>
                  <a:schemeClr val="tx2"/>
                </a:solidFill>
              </a:rPr>
              <a:t>As soon as the document is created, the class has to be defined. </a:t>
            </a:r>
          </a:p>
          <a:p>
            <a:r>
              <a:rPr lang="en-GB" b="0">
                <a:solidFill>
                  <a:schemeClr val="tx2"/>
                </a:solidFill>
              </a:rPr>
              <a:t>On the title slide, the class has to be set manually and in capital letters below the title — please add it manually. </a:t>
            </a:r>
          </a:p>
          <a:p>
            <a:r>
              <a:rPr lang="en-GB" b="0">
                <a:solidFill>
                  <a:schemeClr val="tx2"/>
                </a:solidFill>
              </a:rPr>
              <a:t>The position of the confidentiality class on the content slide is bottom left, automatically set by the software.  </a:t>
            </a:r>
          </a:p>
          <a:p>
            <a:r>
              <a:rPr lang="en-GB" b="0">
                <a:solidFill>
                  <a:schemeClr val="tx2"/>
                </a:solidFill>
              </a:rPr>
              <a:t>REMARK: The confidentiality classification does not appear on slides with full-page pictures.  </a:t>
            </a:r>
          </a:p>
          <a:p>
            <a:r>
              <a:rPr lang="en-GB" b="0">
                <a:solidFill>
                  <a:schemeClr val="tx2"/>
                </a:solidFill>
              </a:rPr>
              <a:t>You can find detailed information about confidentiality classification in GroupWiki: </a:t>
            </a:r>
            <a:br>
              <a:rPr lang="en-GB" b="0"/>
            </a:br>
            <a:r>
              <a:rPr lang="en-GB" b="0">
                <a:hlinkClick r:id="rId2"/>
              </a:rPr>
              <a:t>https://group-wiki.wob.vw.vwg/wikis/pages/viewpage.action?pageId=527796483</a:t>
            </a:r>
            <a:r>
              <a:rPr lang="en-GB" b="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a:t>Confidentiality Classification</a:t>
            </a:r>
            <a:endParaRPr lang="ar-AE"/>
          </a:p>
        </p:txBody>
      </p:sp>
    </p:spTree>
    <p:extLst>
      <p:ext uri="{BB962C8B-B14F-4D97-AF65-F5344CB8AC3E}">
        <p14:creationId xmlns:p14="http://schemas.microsoft.com/office/powerpoint/2010/main" val="24748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spTree>
    <p:extLst>
      <p:ext uri="{BB962C8B-B14F-4D97-AF65-F5344CB8AC3E}">
        <p14:creationId xmlns:p14="http://schemas.microsoft.com/office/powerpoint/2010/main" val="3270606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422320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Intro slide Deep Space Blue">
    <p:bg bwMode="grayWhite">
      <p:bgPr>
        <a:solidFill>
          <a:srgbClr val="0027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7574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58B2D0C7-D864-4C0C-123D-E25C254DC793}"/>
              </a:ext>
            </a:extLst>
          </p:cNvPr>
          <p:cNvSpPr>
            <a:spLocks noGrp="1"/>
          </p:cNvSpPr>
          <p:nvPr>
            <p:ph type="pic" sz="quarter" idx="10"/>
          </p:nvPr>
        </p:nvSpPr>
        <p:spPr bwMode="gray">
          <a:xfrm>
            <a:off x="466263" y="1140040"/>
            <a:ext cx="5641286" cy="5100432"/>
          </a:xfrm>
          <a:custGeom>
            <a:avLst/>
            <a:gdLst>
              <a:gd name="connsiteX0" fmla="*/ 2815830 w 5641286"/>
              <a:gd name="connsiteY0" fmla="*/ 3598891 h 5100432"/>
              <a:gd name="connsiteX1" fmla="*/ 3502944 w 5641286"/>
              <a:gd name="connsiteY1" fmla="*/ 3942448 h 5100432"/>
              <a:gd name="connsiteX2" fmla="*/ 3502944 w 5641286"/>
              <a:gd name="connsiteY2" fmla="*/ 4756875 h 5100432"/>
              <a:gd name="connsiteX3" fmla="*/ 2815830 w 5641286"/>
              <a:gd name="connsiteY3" fmla="*/ 5100432 h 5100432"/>
              <a:gd name="connsiteX4" fmla="*/ 2128717 w 5641286"/>
              <a:gd name="connsiteY4" fmla="*/ 4756875 h 5100432"/>
              <a:gd name="connsiteX5" fmla="*/ 2128717 w 5641286"/>
              <a:gd name="connsiteY5" fmla="*/ 3942448 h 5100432"/>
              <a:gd name="connsiteX6" fmla="*/ 3531819 w 5641286"/>
              <a:gd name="connsiteY6" fmla="*/ 2401500 h 5100432"/>
              <a:gd name="connsiteX7" fmla="*/ 4218933 w 5641286"/>
              <a:gd name="connsiteY7" fmla="*/ 2745057 h 5100432"/>
              <a:gd name="connsiteX8" fmla="*/ 4218933 w 5641286"/>
              <a:gd name="connsiteY8" fmla="*/ 3559484 h 5100432"/>
              <a:gd name="connsiteX9" fmla="*/ 3531819 w 5641286"/>
              <a:gd name="connsiteY9" fmla="*/ 3903041 h 5100432"/>
              <a:gd name="connsiteX10" fmla="*/ 2844706 w 5641286"/>
              <a:gd name="connsiteY10" fmla="*/ 3559484 h 5100432"/>
              <a:gd name="connsiteX11" fmla="*/ 2844706 w 5641286"/>
              <a:gd name="connsiteY11" fmla="*/ 2745057 h 5100432"/>
              <a:gd name="connsiteX12" fmla="*/ 2109466 w 5641286"/>
              <a:gd name="connsiteY12" fmla="*/ 2400222 h 5100432"/>
              <a:gd name="connsiteX13" fmla="*/ 2796580 w 5641286"/>
              <a:gd name="connsiteY13" fmla="*/ 2743779 h 5100432"/>
              <a:gd name="connsiteX14" fmla="*/ 2796580 w 5641286"/>
              <a:gd name="connsiteY14" fmla="*/ 3558206 h 5100432"/>
              <a:gd name="connsiteX15" fmla="*/ 2109466 w 5641286"/>
              <a:gd name="connsiteY15" fmla="*/ 3901763 h 5100432"/>
              <a:gd name="connsiteX16" fmla="*/ 1422353 w 5641286"/>
              <a:gd name="connsiteY16" fmla="*/ 3558206 h 5100432"/>
              <a:gd name="connsiteX17" fmla="*/ 1422353 w 5641286"/>
              <a:gd name="connsiteY17" fmla="*/ 2743779 h 5100432"/>
              <a:gd name="connsiteX18" fmla="*/ 687113 w 5641286"/>
              <a:gd name="connsiteY18" fmla="*/ 2400222 h 5100432"/>
              <a:gd name="connsiteX19" fmla="*/ 1374227 w 5641286"/>
              <a:gd name="connsiteY19" fmla="*/ 2743779 h 5100432"/>
              <a:gd name="connsiteX20" fmla="*/ 1374227 w 5641286"/>
              <a:gd name="connsiteY20" fmla="*/ 3558206 h 5100432"/>
              <a:gd name="connsiteX21" fmla="*/ 687113 w 5641286"/>
              <a:gd name="connsiteY21" fmla="*/ 3901763 h 5100432"/>
              <a:gd name="connsiteX22" fmla="*/ 0 w 5641286"/>
              <a:gd name="connsiteY22" fmla="*/ 3558206 h 5100432"/>
              <a:gd name="connsiteX23" fmla="*/ 0 w 5641286"/>
              <a:gd name="connsiteY23" fmla="*/ 2743779 h 5100432"/>
              <a:gd name="connsiteX24" fmla="*/ 4954172 w 5641286"/>
              <a:gd name="connsiteY24" fmla="*/ 2400221 h 5100432"/>
              <a:gd name="connsiteX25" fmla="*/ 5641286 w 5641286"/>
              <a:gd name="connsiteY25" fmla="*/ 2743778 h 5100432"/>
              <a:gd name="connsiteX26" fmla="*/ 5641286 w 5641286"/>
              <a:gd name="connsiteY26" fmla="*/ 3558205 h 5100432"/>
              <a:gd name="connsiteX27" fmla="*/ 4954172 w 5641286"/>
              <a:gd name="connsiteY27" fmla="*/ 3901762 h 5100432"/>
              <a:gd name="connsiteX28" fmla="*/ 4267059 w 5641286"/>
              <a:gd name="connsiteY28" fmla="*/ 3558205 h 5100432"/>
              <a:gd name="connsiteX29" fmla="*/ 4267059 w 5641286"/>
              <a:gd name="connsiteY29" fmla="*/ 2743778 h 5100432"/>
              <a:gd name="connsiteX30" fmla="*/ 4247808 w 5641286"/>
              <a:gd name="connsiteY30" fmla="*/ 1202831 h 5100432"/>
              <a:gd name="connsiteX31" fmla="*/ 4934922 w 5641286"/>
              <a:gd name="connsiteY31" fmla="*/ 1546388 h 5100432"/>
              <a:gd name="connsiteX32" fmla="*/ 4934922 w 5641286"/>
              <a:gd name="connsiteY32" fmla="*/ 2360815 h 5100432"/>
              <a:gd name="connsiteX33" fmla="*/ 4247808 w 5641286"/>
              <a:gd name="connsiteY33" fmla="*/ 2704372 h 5100432"/>
              <a:gd name="connsiteX34" fmla="*/ 3560695 w 5641286"/>
              <a:gd name="connsiteY34" fmla="*/ 2360815 h 5100432"/>
              <a:gd name="connsiteX35" fmla="*/ 3560695 w 5641286"/>
              <a:gd name="connsiteY35" fmla="*/ 1546388 h 5100432"/>
              <a:gd name="connsiteX36" fmla="*/ 2825455 w 5641286"/>
              <a:gd name="connsiteY36" fmla="*/ 1201553 h 5100432"/>
              <a:gd name="connsiteX37" fmla="*/ 3512569 w 5641286"/>
              <a:gd name="connsiteY37" fmla="*/ 1545110 h 5100432"/>
              <a:gd name="connsiteX38" fmla="*/ 3512569 w 5641286"/>
              <a:gd name="connsiteY38" fmla="*/ 2359537 h 5100432"/>
              <a:gd name="connsiteX39" fmla="*/ 2825455 w 5641286"/>
              <a:gd name="connsiteY39" fmla="*/ 2703094 h 5100432"/>
              <a:gd name="connsiteX40" fmla="*/ 2138342 w 5641286"/>
              <a:gd name="connsiteY40" fmla="*/ 2359537 h 5100432"/>
              <a:gd name="connsiteX41" fmla="*/ 2138342 w 5641286"/>
              <a:gd name="connsiteY41" fmla="*/ 1545110 h 5100432"/>
              <a:gd name="connsiteX42" fmla="*/ 1403102 w 5641286"/>
              <a:gd name="connsiteY42" fmla="*/ 1201553 h 5100432"/>
              <a:gd name="connsiteX43" fmla="*/ 2090216 w 5641286"/>
              <a:gd name="connsiteY43" fmla="*/ 1545110 h 5100432"/>
              <a:gd name="connsiteX44" fmla="*/ 2090216 w 5641286"/>
              <a:gd name="connsiteY44" fmla="*/ 2359537 h 5100432"/>
              <a:gd name="connsiteX45" fmla="*/ 1403102 w 5641286"/>
              <a:gd name="connsiteY45" fmla="*/ 2703094 h 5100432"/>
              <a:gd name="connsiteX46" fmla="*/ 715989 w 5641286"/>
              <a:gd name="connsiteY46" fmla="*/ 2359537 h 5100432"/>
              <a:gd name="connsiteX47" fmla="*/ 715989 w 5641286"/>
              <a:gd name="connsiteY47" fmla="*/ 1545110 h 5100432"/>
              <a:gd name="connsiteX48" fmla="*/ 3531819 w 5641286"/>
              <a:gd name="connsiteY48" fmla="*/ 0 h 5100432"/>
              <a:gd name="connsiteX49" fmla="*/ 4218933 w 5641286"/>
              <a:gd name="connsiteY49" fmla="*/ 343557 h 5100432"/>
              <a:gd name="connsiteX50" fmla="*/ 4218933 w 5641286"/>
              <a:gd name="connsiteY50" fmla="*/ 1157984 h 5100432"/>
              <a:gd name="connsiteX51" fmla="*/ 3531819 w 5641286"/>
              <a:gd name="connsiteY51" fmla="*/ 1501541 h 5100432"/>
              <a:gd name="connsiteX52" fmla="*/ 2844706 w 5641286"/>
              <a:gd name="connsiteY52" fmla="*/ 1157984 h 5100432"/>
              <a:gd name="connsiteX53" fmla="*/ 2844706 w 5641286"/>
              <a:gd name="connsiteY53" fmla="*/ 343557 h 510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41286" h="5100432">
                <a:moveTo>
                  <a:pt x="2815830" y="3598891"/>
                </a:moveTo>
                <a:lnTo>
                  <a:pt x="3502944" y="3942448"/>
                </a:lnTo>
                <a:lnTo>
                  <a:pt x="3502944" y="4756875"/>
                </a:lnTo>
                <a:lnTo>
                  <a:pt x="2815830" y="5100432"/>
                </a:lnTo>
                <a:lnTo>
                  <a:pt x="2128717" y="4756875"/>
                </a:lnTo>
                <a:lnTo>
                  <a:pt x="2128717" y="3942448"/>
                </a:lnTo>
                <a:close/>
                <a:moveTo>
                  <a:pt x="3531819" y="2401500"/>
                </a:moveTo>
                <a:lnTo>
                  <a:pt x="4218933" y="2745057"/>
                </a:lnTo>
                <a:lnTo>
                  <a:pt x="4218933" y="3559484"/>
                </a:lnTo>
                <a:lnTo>
                  <a:pt x="3531819" y="3903041"/>
                </a:lnTo>
                <a:lnTo>
                  <a:pt x="2844706" y="3559484"/>
                </a:lnTo>
                <a:lnTo>
                  <a:pt x="2844706" y="2745057"/>
                </a:lnTo>
                <a:close/>
                <a:moveTo>
                  <a:pt x="2109466" y="2400222"/>
                </a:moveTo>
                <a:lnTo>
                  <a:pt x="2796580" y="2743779"/>
                </a:lnTo>
                <a:lnTo>
                  <a:pt x="2796580" y="3558206"/>
                </a:lnTo>
                <a:lnTo>
                  <a:pt x="2109466" y="3901763"/>
                </a:lnTo>
                <a:lnTo>
                  <a:pt x="1422353" y="3558206"/>
                </a:lnTo>
                <a:lnTo>
                  <a:pt x="1422353" y="2743779"/>
                </a:lnTo>
                <a:close/>
                <a:moveTo>
                  <a:pt x="687113" y="2400222"/>
                </a:moveTo>
                <a:lnTo>
                  <a:pt x="1374227" y="2743779"/>
                </a:lnTo>
                <a:lnTo>
                  <a:pt x="1374227" y="3558206"/>
                </a:lnTo>
                <a:lnTo>
                  <a:pt x="687113" y="3901763"/>
                </a:lnTo>
                <a:lnTo>
                  <a:pt x="0" y="3558206"/>
                </a:lnTo>
                <a:lnTo>
                  <a:pt x="0" y="2743779"/>
                </a:lnTo>
                <a:close/>
                <a:moveTo>
                  <a:pt x="4954172" y="2400221"/>
                </a:moveTo>
                <a:lnTo>
                  <a:pt x="5641286" y="2743778"/>
                </a:lnTo>
                <a:lnTo>
                  <a:pt x="5641286" y="3558205"/>
                </a:lnTo>
                <a:lnTo>
                  <a:pt x="4954172" y="3901762"/>
                </a:lnTo>
                <a:lnTo>
                  <a:pt x="4267059" y="3558205"/>
                </a:lnTo>
                <a:lnTo>
                  <a:pt x="4267059" y="2743778"/>
                </a:lnTo>
                <a:close/>
                <a:moveTo>
                  <a:pt x="4247808" y="1202831"/>
                </a:moveTo>
                <a:lnTo>
                  <a:pt x="4934922" y="1546388"/>
                </a:lnTo>
                <a:lnTo>
                  <a:pt x="4934922" y="2360815"/>
                </a:lnTo>
                <a:lnTo>
                  <a:pt x="4247808" y="2704372"/>
                </a:lnTo>
                <a:lnTo>
                  <a:pt x="3560695" y="2360815"/>
                </a:lnTo>
                <a:lnTo>
                  <a:pt x="3560695" y="1546388"/>
                </a:lnTo>
                <a:close/>
                <a:moveTo>
                  <a:pt x="2825455" y="1201553"/>
                </a:moveTo>
                <a:lnTo>
                  <a:pt x="3512569" y="1545110"/>
                </a:lnTo>
                <a:lnTo>
                  <a:pt x="3512569" y="2359537"/>
                </a:lnTo>
                <a:lnTo>
                  <a:pt x="2825455" y="2703094"/>
                </a:lnTo>
                <a:lnTo>
                  <a:pt x="2138342" y="2359537"/>
                </a:lnTo>
                <a:lnTo>
                  <a:pt x="2138342" y="1545110"/>
                </a:lnTo>
                <a:close/>
                <a:moveTo>
                  <a:pt x="1403102" y="1201553"/>
                </a:moveTo>
                <a:lnTo>
                  <a:pt x="2090216" y="1545110"/>
                </a:lnTo>
                <a:lnTo>
                  <a:pt x="2090216" y="2359537"/>
                </a:lnTo>
                <a:lnTo>
                  <a:pt x="1403102" y="2703094"/>
                </a:lnTo>
                <a:lnTo>
                  <a:pt x="715989" y="2359537"/>
                </a:lnTo>
                <a:lnTo>
                  <a:pt x="715989" y="1545110"/>
                </a:lnTo>
                <a:close/>
                <a:moveTo>
                  <a:pt x="3531819" y="0"/>
                </a:moveTo>
                <a:lnTo>
                  <a:pt x="4218933" y="343557"/>
                </a:lnTo>
                <a:lnTo>
                  <a:pt x="4218933" y="1157984"/>
                </a:lnTo>
                <a:lnTo>
                  <a:pt x="3531819" y="1501541"/>
                </a:lnTo>
                <a:lnTo>
                  <a:pt x="2844706" y="1157984"/>
                </a:lnTo>
                <a:lnTo>
                  <a:pt x="2844706" y="343557"/>
                </a:lnTo>
                <a:close/>
              </a:path>
            </a:pathLst>
          </a:custGeom>
        </p:spPr>
        <p:txBody>
          <a:bodyPr wrap="square">
            <a:noAutofit/>
          </a:bodyPr>
          <a:lstStyle/>
          <a:p>
            <a:endParaRPr lang="en-US"/>
          </a:p>
        </p:txBody>
      </p:sp>
      <p:pic>
        <p:nvPicPr>
          <p:cNvPr id="2" name="Picture 1" descr="A white text with a black background&#10;&#10;Description automatically generated">
            <a:extLst>
              <a:ext uri="{FF2B5EF4-FFF2-40B4-BE49-F238E27FC236}">
                <a16:creationId xmlns:a16="http://schemas.microsoft.com/office/drawing/2014/main" id="{29967E21-51B8-2C80-A3B5-14BC52DE2E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6325" y="6089752"/>
            <a:ext cx="2111102" cy="455678"/>
          </a:xfrm>
          <a:prstGeom prst="rect">
            <a:avLst/>
          </a:prstGeom>
        </p:spPr>
      </p:pic>
      <p:pic>
        <p:nvPicPr>
          <p:cNvPr id="3" name="Picture 2" descr="A black and white logo&#10;&#10;Description automatically generated">
            <a:extLst>
              <a:ext uri="{FF2B5EF4-FFF2-40B4-BE49-F238E27FC236}">
                <a16:creationId xmlns:a16="http://schemas.microsoft.com/office/drawing/2014/main" id="{D27DD624-CE1F-83B9-EE78-56E0CF5BF5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299188" y="143009"/>
            <a:ext cx="656152" cy="714867"/>
          </a:xfrm>
          <a:prstGeom prst="rect">
            <a:avLst/>
          </a:prstGeom>
        </p:spPr>
      </p:pic>
    </p:spTree>
    <p:extLst>
      <p:ext uri="{BB962C8B-B14F-4D97-AF65-F5344CB8AC3E}">
        <p14:creationId xmlns:p14="http://schemas.microsoft.com/office/powerpoint/2010/main" val="444438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101864E5-8E87-0E72-62E2-89AD4AB99C58}"/>
              </a:ext>
            </a:extLst>
          </p:cNvPr>
          <p:cNvSpPr>
            <a:spLocks noGrp="1"/>
          </p:cNvSpPr>
          <p:nvPr>
            <p:ph type="pic" sz="quarter" idx="10"/>
          </p:nvPr>
        </p:nvSpPr>
        <p:spPr bwMode="gray">
          <a:xfrm>
            <a:off x="1" y="-2"/>
            <a:ext cx="6718853" cy="6858000"/>
          </a:xfrm>
          <a:custGeom>
            <a:avLst/>
            <a:gdLst>
              <a:gd name="connsiteX0" fmla="*/ 6344479 w 6718853"/>
              <a:gd name="connsiteY0" fmla="*/ 4990934 h 6858000"/>
              <a:gd name="connsiteX1" fmla="*/ 6718853 w 6718853"/>
              <a:gd name="connsiteY1" fmla="*/ 4990934 h 6858000"/>
              <a:gd name="connsiteX2" fmla="*/ 6718853 w 6718853"/>
              <a:gd name="connsiteY2" fmla="*/ 5359013 h 6858000"/>
              <a:gd name="connsiteX3" fmla="*/ 6344479 w 6718853"/>
              <a:gd name="connsiteY3" fmla="*/ 5359013 h 6858000"/>
              <a:gd name="connsiteX4" fmla="*/ 5398810 w 6718853"/>
              <a:gd name="connsiteY4" fmla="*/ 4142339 h 6858000"/>
              <a:gd name="connsiteX5" fmla="*/ 6105167 w 6718853"/>
              <a:gd name="connsiteY5" fmla="*/ 4142339 h 6858000"/>
              <a:gd name="connsiteX6" fmla="*/ 6105167 w 6718853"/>
              <a:gd name="connsiteY6" fmla="*/ 4775201 h 6858000"/>
              <a:gd name="connsiteX7" fmla="*/ 5398810 w 6718853"/>
              <a:gd name="connsiteY7" fmla="*/ 4775201 h 6858000"/>
              <a:gd name="connsiteX8" fmla="*/ 5322404 w 6718853"/>
              <a:gd name="connsiteY8" fmla="*/ 4045226 h 6858000"/>
              <a:gd name="connsiteX9" fmla="*/ 5322404 w 6718853"/>
              <a:gd name="connsiteY9" fmla="*/ 4860235 h 6858000"/>
              <a:gd name="connsiteX10" fmla="*/ 6177170 w 6718853"/>
              <a:gd name="connsiteY10" fmla="*/ 4860235 h 6858000"/>
              <a:gd name="connsiteX11" fmla="*/ 6177170 w 6718853"/>
              <a:gd name="connsiteY11" fmla="*/ 4045226 h 6858000"/>
              <a:gd name="connsiteX12" fmla="*/ 5911474 w 6718853"/>
              <a:gd name="connsiteY12" fmla="*/ 3555781 h 6858000"/>
              <a:gd name="connsiteX13" fmla="*/ 6140827 w 6718853"/>
              <a:gd name="connsiteY13" fmla="*/ 3555781 h 6858000"/>
              <a:gd name="connsiteX14" fmla="*/ 6140827 w 6718853"/>
              <a:gd name="connsiteY14" fmla="*/ 3797522 h 6858000"/>
              <a:gd name="connsiteX15" fmla="*/ 5911474 w 6718853"/>
              <a:gd name="connsiteY15" fmla="*/ 3797522 h 6858000"/>
              <a:gd name="connsiteX16" fmla="*/ 5844209 w 6718853"/>
              <a:gd name="connsiteY16" fmla="*/ 3505201 h 6858000"/>
              <a:gd name="connsiteX17" fmla="*/ 5844209 w 6718853"/>
              <a:gd name="connsiteY17" fmla="*/ 3849756 h 6858000"/>
              <a:gd name="connsiteX18" fmla="*/ 6190422 w 6718853"/>
              <a:gd name="connsiteY18" fmla="*/ 3849756 h 6858000"/>
              <a:gd name="connsiteX19" fmla="*/ 6190422 w 6718853"/>
              <a:gd name="connsiteY19" fmla="*/ 3505201 h 6858000"/>
              <a:gd name="connsiteX20" fmla="*/ 5490529 w 6718853"/>
              <a:gd name="connsiteY20" fmla="*/ 2808839 h 6858000"/>
              <a:gd name="connsiteX21" fmla="*/ 5901371 w 6718853"/>
              <a:gd name="connsiteY21" fmla="*/ 2808839 h 6858000"/>
              <a:gd name="connsiteX22" fmla="*/ 5901371 w 6718853"/>
              <a:gd name="connsiteY22" fmla="*/ 3236364 h 6858000"/>
              <a:gd name="connsiteX23" fmla="*/ 5490529 w 6718853"/>
              <a:gd name="connsiteY23" fmla="*/ 3236364 h 6858000"/>
              <a:gd name="connsiteX24" fmla="*/ 5426763 w 6718853"/>
              <a:gd name="connsiteY24" fmla="*/ 2723322 h 6858000"/>
              <a:gd name="connsiteX25" fmla="*/ 5426763 w 6718853"/>
              <a:gd name="connsiteY25" fmla="*/ 3299792 h 6858000"/>
              <a:gd name="connsiteX26" fmla="*/ 5963477 w 6718853"/>
              <a:gd name="connsiteY26" fmla="*/ 3299792 h 6858000"/>
              <a:gd name="connsiteX27" fmla="*/ 5963477 w 6718853"/>
              <a:gd name="connsiteY27" fmla="*/ 2723322 h 6858000"/>
              <a:gd name="connsiteX28" fmla="*/ 5844209 w 6718853"/>
              <a:gd name="connsiteY28" fmla="*/ 1590261 h 6858000"/>
              <a:gd name="connsiteX29" fmla="*/ 6698975 w 6718853"/>
              <a:gd name="connsiteY29" fmla="*/ 1590261 h 6858000"/>
              <a:gd name="connsiteX30" fmla="*/ 6698975 w 6718853"/>
              <a:gd name="connsiteY30" fmla="*/ 2405270 h 6858000"/>
              <a:gd name="connsiteX31" fmla="*/ 5844209 w 6718853"/>
              <a:gd name="connsiteY31" fmla="*/ 2405270 h 6858000"/>
              <a:gd name="connsiteX32" fmla="*/ 2266122 w 6718853"/>
              <a:gd name="connsiteY32" fmla="*/ 1272209 h 6858000"/>
              <a:gd name="connsiteX33" fmla="*/ 6510131 w 6718853"/>
              <a:gd name="connsiteY33" fmla="*/ 1272209 h 6858000"/>
              <a:gd name="connsiteX34" fmla="*/ 6510131 w 6718853"/>
              <a:gd name="connsiteY34" fmla="*/ 1480930 h 6858000"/>
              <a:gd name="connsiteX35" fmla="*/ 5734879 w 6718853"/>
              <a:gd name="connsiteY35" fmla="*/ 1480930 h 6858000"/>
              <a:gd name="connsiteX36" fmla="*/ 5734879 w 6718853"/>
              <a:gd name="connsiteY36" fmla="*/ 2514600 h 6858000"/>
              <a:gd name="connsiteX37" fmla="*/ 6510131 w 6718853"/>
              <a:gd name="connsiteY37" fmla="*/ 2514600 h 6858000"/>
              <a:gd name="connsiteX38" fmla="*/ 6510131 w 6718853"/>
              <a:gd name="connsiteY38" fmla="*/ 4925806 h 6858000"/>
              <a:gd name="connsiteX39" fmla="*/ 6271592 w 6718853"/>
              <a:gd name="connsiteY39" fmla="*/ 4925806 h 6858000"/>
              <a:gd name="connsiteX40" fmla="*/ 6271592 w 6718853"/>
              <a:gd name="connsiteY40" fmla="*/ 5426766 h 6858000"/>
              <a:gd name="connsiteX41" fmla="*/ 6510131 w 6718853"/>
              <a:gd name="connsiteY41" fmla="*/ 5426766 h 6858000"/>
              <a:gd name="connsiteX42" fmla="*/ 6510131 w 6718853"/>
              <a:gd name="connsiteY42" fmla="*/ 5595730 h 6858000"/>
              <a:gd name="connsiteX43" fmla="*/ 2266122 w 6718853"/>
              <a:gd name="connsiteY43" fmla="*/ 5595730 h 6858000"/>
              <a:gd name="connsiteX44" fmla="*/ 0 w 6718853"/>
              <a:gd name="connsiteY44" fmla="*/ 0 h 6858000"/>
              <a:gd name="connsiteX45" fmla="*/ 5208104 w 6718853"/>
              <a:gd name="connsiteY45" fmla="*/ 0 h 6858000"/>
              <a:gd name="connsiteX46" fmla="*/ 5208104 w 6718853"/>
              <a:gd name="connsiteY46" fmla="*/ 1052513 h 6858000"/>
              <a:gd name="connsiteX47" fmla="*/ 2060713 w 6718853"/>
              <a:gd name="connsiteY47" fmla="*/ 1052513 h 6858000"/>
              <a:gd name="connsiteX48" fmla="*/ 2060713 w 6718853"/>
              <a:gd name="connsiteY48" fmla="*/ 5824330 h 6858000"/>
              <a:gd name="connsiteX49" fmla="*/ 5208104 w 6718853"/>
              <a:gd name="connsiteY49" fmla="*/ 5824330 h 6858000"/>
              <a:gd name="connsiteX50" fmla="*/ 5208104 w 6718853"/>
              <a:gd name="connsiteY50" fmla="*/ 6858000 h 6858000"/>
              <a:gd name="connsiteX51" fmla="*/ 0 w 6718853"/>
              <a:gd name="connsiteY5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718853" h="6858000">
                <a:moveTo>
                  <a:pt x="6344479" y="4990934"/>
                </a:moveTo>
                <a:lnTo>
                  <a:pt x="6718853" y="4990934"/>
                </a:lnTo>
                <a:lnTo>
                  <a:pt x="6718853" y="5359013"/>
                </a:lnTo>
                <a:lnTo>
                  <a:pt x="6344479" y="5359013"/>
                </a:lnTo>
                <a:close/>
                <a:moveTo>
                  <a:pt x="5398810" y="4142339"/>
                </a:moveTo>
                <a:lnTo>
                  <a:pt x="6105167" y="4142339"/>
                </a:lnTo>
                <a:lnTo>
                  <a:pt x="6105167" y="4775201"/>
                </a:lnTo>
                <a:lnTo>
                  <a:pt x="5398810" y="4775201"/>
                </a:lnTo>
                <a:close/>
                <a:moveTo>
                  <a:pt x="5322404" y="4045226"/>
                </a:moveTo>
                <a:lnTo>
                  <a:pt x="5322404" y="4860235"/>
                </a:lnTo>
                <a:lnTo>
                  <a:pt x="6177170" y="4860235"/>
                </a:lnTo>
                <a:lnTo>
                  <a:pt x="6177170" y="4045226"/>
                </a:lnTo>
                <a:close/>
                <a:moveTo>
                  <a:pt x="5911474" y="3555781"/>
                </a:moveTo>
                <a:lnTo>
                  <a:pt x="6140827" y="3555781"/>
                </a:lnTo>
                <a:lnTo>
                  <a:pt x="6140827" y="3797522"/>
                </a:lnTo>
                <a:lnTo>
                  <a:pt x="5911474" y="3797522"/>
                </a:lnTo>
                <a:close/>
                <a:moveTo>
                  <a:pt x="5844209" y="3505201"/>
                </a:moveTo>
                <a:lnTo>
                  <a:pt x="5844209" y="3849756"/>
                </a:lnTo>
                <a:lnTo>
                  <a:pt x="6190422" y="3849756"/>
                </a:lnTo>
                <a:lnTo>
                  <a:pt x="6190422" y="3505201"/>
                </a:lnTo>
                <a:close/>
                <a:moveTo>
                  <a:pt x="5490529" y="2808839"/>
                </a:moveTo>
                <a:lnTo>
                  <a:pt x="5901371" y="2808839"/>
                </a:lnTo>
                <a:lnTo>
                  <a:pt x="5901371" y="3236364"/>
                </a:lnTo>
                <a:lnTo>
                  <a:pt x="5490529" y="3236364"/>
                </a:lnTo>
                <a:close/>
                <a:moveTo>
                  <a:pt x="5426763" y="2723322"/>
                </a:moveTo>
                <a:lnTo>
                  <a:pt x="5426763" y="3299792"/>
                </a:lnTo>
                <a:lnTo>
                  <a:pt x="5963477" y="3299792"/>
                </a:lnTo>
                <a:lnTo>
                  <a:pt x="5963477" y="2723322"/>
                </a:lnTo>
                <a:close/>
                <a:moveTo>
                  <a:pt x="5844209" y="1590261"/>
                </a:moveTo>
                <a:lnTo>
                  <a:pt x="6698975" y="1590261"/>
                </a:lnTo>
                <a:lnTo>
                  <a:pt x="6698975" y="2405270"/>
                </a:lnTo>
                <a:lnTo>
                  <a:pt x="5844209" y="2405270"/>
                </a:lnTo>
                <a:close/>
                <a:moveTo>
                  <a:pt x="2266122" y="1272209"/>
                </a:moveTo>
                <a:lnTo>
                  <a:pt x="6510131" y="1272209"/>
                </a:lnTo>
                <a:lnTo>
                  <a:pt x="6510131" y="1480930"/>
                </a:lnTo>
                <a:lnTo>
                  <a:pt x="5734879" y="1480930"/>
                </a:lnTo>
                <a:lnTo>
                  <a:pt x="5734879" y="2514600"/>
                </a:lnTo>
                <a:lnTo>
                  <a:pt x="6510131" y="2514600"/>
                </a:lnTo>
                <a:lnTo>
                  <a:pt x="6510131" y="4925806"/>
                </a:lnTo>
                <a:lnTo>
                  <a:pt x="6271592" y="4925806"/>
                </a:lnTo>
                <a:lnTo>
                  <a:pt x="6271592" y="5426766"/>
                </a:lnTo>
                <a:lnTo>
                  <a:pt x="6510131" y="5426766"/>
                </a:lnTo>
                <a:lnTo>
                  <a:pt x="6510131" y="5595730"/>
                </a:lnTo>
                <a:lnTo>
                  <a:pt x="2266122" y="5595730"/>
                </a:lnTo>
                <a:close/>
                <a:moveTo>
                  <a:pt x="0" y="0"/>
                </a:moveTo>
                <a:lnTo>
                  <a:pt x="5208104" y="0"/>
                </a:lnTo>
                <a:lnTo>
                  <a:pt x="5208104" y="1052513"/>
                </a:lnTo>
                <a:lnTo>
                  <a:pt x="2060713" y="1052513"/>
                </a:lnTo>
                <a:lnTo>
                  <a:pt x="2060713" y="5824330"/>
                </a:lnTo>
                <a:lnTo>
                  <a:pt x="5208104" y="5824330"/>
                </a:lnTo>
                <a:lnTo>
                  <a:pt x="5208104" y="6858000"/>
                </a:lnTo>
                <a:lnTo>
                  <a:pt x="0" y="6858000"/>
                </a:lnTo>
                <a:close/>
              </a:path>
            </a:pathLst>
          </a:custGeom>
          <a:ln w="19050">
            <a:solidFill>
              <a:schemeClr val="tx1"/>
            </a:solidFill>
          </a:ln>
        </p:spPr>
        <p:txBody>
          <a:bodyPr wrap="square">
            <a:noAutofit/>
          </a:bodyPr>
          <a:lstStyle/>
          <a:p>
            <a:endParaRPr lang="en-US"/>
          </a:p>
        </p:txBody>
      </p:sp>
      <p:pic>
        <p:nvPicPr>
          <p:cNvPr id="2" name="Picture 1">
            <a:extLst>
              <a:ext uri="{FF2B5EF4-FFF2-40B4-BE49-F238E27FC236}">
                <a16:creationId xmlns:a16="http://schemas.microsoft.com/office/drawing/2014/main" id="{C043DEFE-05D6-DEB8-A6B9-DD5F496BBD5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89808" b="3717"/>
          <a:stretch/>
        </p:blipFill>
        <p:spPr>
          <a:xfrm>
            <a:off x="11544357" y="172020"/>
            <a:ext cx="551437" cy="478220"/>
          </a:xfrm>
          <a:prstGeom prst="rect">
            <a:avLst/>
          </a:prstGeom>
        </p:spPr>
      </p:pic>
    </p:spTree>
    <p:extLst>
      <p:ext uri="{BB962C8B-B14F-4D97-AF65-F5344CB8AC3E}">
        <p14:creationId xmlns:p14="http://schemas.microsoft.com/office/powerpoint/2010/main" val="1692684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720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1471158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451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pic>
        <p:nvPicPr>
          <p:cNvPr id="2" name="Picture 1" descr="A white text with a black background&#10;&#10;Description automatically generated">
            <a:extLst>
              <a:ext uri="{FF2B5EF4-FFF2-40B4-BE49-F238E27FC236}">
                <a16:creationId xmlns:a16="http://schemas.microsoft.com/office/drawing/2014/main" id="{A2E87CBF-170D-C3B2-212C-CDABF527D2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525" y="6130392"/>
            <a:ext cx="2111102" cy="455678"/>
          </a:xfrm>
          <a:prstGeom prst="rect">
            <a:avLst/>
          </a:prstGeom>
        </p:spPr>
      </p:pic>
      <p:pic>
        <p:nvPicPr>
          <p:cNvPr id="6" name="Picture 5" descr="A black and white logo&#10;&#10;Description automatically generated">
            <a:extLst>
              <a:ext uri="{FF2B5EF4-FFF2-40B4-BE49-F238E27FC236}">
                <a16:creationId xmlns:a16="http://schemas.microsoft.com/office/drawing/2014/main" id="{505FE02C-C090-81C9-2797-1FC6317BA6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299188" y="143009"/>
            <a:ext cx="656152" cy="714867"/>
          </a:xfrm>
          <a:prstGeom prst="rect">
            <a:avLst/>
          </a:prstGeom>
        </p:spPr>
      </p:pic>
    </p:spTree>
    <p:extLst>
      <p:ext uri="{BB962C8B-B14F-4D97-AF65-F5344CB8AC3E}">
        <p14:creationId xmlns:p14="http://schemas.microsoft.com/office/powerpoint/2010/main" val="1340210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1060618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867525"/>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18" name="Rectangle 17"/>
          <p:cNvSpPr/>
          <p:nvPr userDrawn="1"/>
        </p:nvSpPr>
        <p:spPr bwMode="auto">
          <a:xfrm>
            <a:off x="0" y="6001145"/>
            <a:ext cx="12192000" cy="381000"/>
          </a:xfrm>
          <a:prstGeom prst="rect">
            <a:avLst/>
          </a:prstGeom>
          <a:solidFill>
            <a:schemeClr val="bg1">
              <a:alpha val="1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
        <p:nvSpPr>
          <p:cNvPr id="6" name="TextBox 5"/>
          <p:cNvSpPr txBox="1"/>
          <p:nvPr userDrawn="1"/>
        </p:nvSpPr>
        <p:spPr>
          <a:xfrm>
            <a:off x="1409700" y="685800"/>
            <a:ext cx="9372600" cy="1536301"/>
          </a:xfrm>
          <a:prstGeom prst="rect">
            <a:avLst/>
          </a:prstGeom>
          <a:noFill/>
          <a:ln>
            <a:noFill/>
          </a:ln>
        </p:spPr>
        <p:txBody>
          <a:bodyPr wrap="square" rtlCol="0" anchor="t" anchorCtr="0">
            <a:noAutofit/>
          </a:bodyPr>
          <a:lstStyle/>
          <a:p>
            <a:pPr algn="ctr">
              <a:spcBef>
                <a:spcPts val="0"/>
              </a:spcBef>
            </a:pPr>
            <a:r>
              <a:rPr lang="en-US" sz="5400">
                <a:solidFill>
                  <a:schemeClr val="bg1"/>
                </a:solidFill>
                <a:latin typeface="+mj-lt"/>
              </a:rPr>
              <a:t>VOLKSWAGEN</a:t>
            </a:r>
          </a:p>
          <a:p>
            <a:pPr algn="ctr">
              <a:spcBef>
                <a:spcPts val="0"/>
              </a:spcBef>
            </a:pPr>
            <a:r>
              <a:rPr lang="en-US" sz="4000">
                <a:solidFill>
                  <a:schemeClr val="bg1"/>
                </a:solidFill>
                <a:latin typeface="+mj-lt"/>
              </a:rPr>
              <a:t>GROUP TECHNOLOGY SOLUTIONS INDIA</a:t>
            </a:r>
          </a:p>
        </p:txBody>
      </p:sp>
      <p:sp>
        <p:nvSpPr>
          <p:cNvPr id="28" name="Title 27"/>
          <p:cNvSpPr>
            <a:spLocks noGrp="1"/>
          </p:cNvSpPr>
          <p:nvPr>
            <p:ph type="title" hasCustomPrompt="1"/>
          </p:nvPr>
        </p:nvSpPr>
        <p:spPr>
          <a:xfrm>
            <a:off x="1828800" y="2707481"/>
            <a:ext cx="8534400" cy="619125"/>
          </a:xfrm>
        </p:spPr>
        <p:txBody>
          <a:bodyPr vert="horz">
            <a:noAutofit/>
          </a:bodyPr>
          <a:lstStyle>
            <a:lvl1pPr algn="ctr">
              <a:defRPr sz="3600">
                <a:solidFill>
                  <a:schemeClr val="bg1"/>
                </a:solidFill>
              </a:defRPr>
            </a:lvl1pPr>
          </a:lstStyle>
          <a:p>
            <a:r>
              <a:rPr lang="en-US"/>
              <a:t>CLICK TO EDIT MASTER TITLE STYLE</a:t>
            </a:r>
          </a:p>
        </p:txBody>
      </p:sp>
      <p:cxnSp>
        <p:nvCxnSpPr>
          <p:cNvPr id="7" name="Straight Connector 6"/>
          <p:cNvCxnSpPr/>
          <p:nvPr userDrawn="1"/>
        </p:nvCxnSpPr>
        <p:spPr bwMode="auto">
          <a:xfrm>
            <a:off x="2743200" y="2386013"/>
            <a:ext cx="6629400" cy="0"/>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userDrawn="1"/>
        </p:nvCxnSpPr>
        <p:spPr bwMode="auto">
          <a:xfrm>
            <a:off x="2743200" y="5029200"/>
            <a:ext cx="6629400" cy="0"/>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Text Placeholder 8"/>
          <p:cNvSpPr>
            <a:spLocks noGrp="1"/>
          </p:cNvSpPr>
          <p:nvPr>
            <p:ph type="body" sz="quarter" idx="10" hasCustomPrompt="1"/>
          </p:nvPr>
        </p:nvSpPr>
        <p:spPr>
          <a:xfrm>
            <a:off x="3330207" y="4172344"/>
            <a:ext cx="5531585" cy="580404"/>
          </a:xfrm>
          <a:prstGeom prst="rect">
            <a:avLst/>
          </a:prstGeom>
        </p:spPr>
        <p:txBody>
          <a:bodyPr vert="horz" lIns="0" tIns="45720" rIns="91440" bIns="45720" rtlCol="0" anchor="ctr">
            <a:noAutofit/>
          </a:bodyPr>
          <a:lstStyle>
            <a:lvl1pPr algn="ctr">
              <a:defRPr lang="en-US" sz="18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presenter name</a:t>
            </a:r>
          </a:p>
        </p:txBody>
      </p:sp>
      <p:sp>
        <p:nvSpPr>
          <p:cNvPr id="16" name="Text Placeholder 8"/>
          <p:cNvSpPr>
            <a:spLocks noGrp="1"/>
          </p:cNvSpPr>
          <p:nvPr>
            <p:ph type="body" sz="quarter" idx="11" hasCustomPrompt="1"/>
          </p:nvPr>
        </p:nvSpPr>
        <p:spPr>
          <a:xfrm>
            <a:off x="9677400" y="6030146"/>
            <a:ext cx="2278743" cy="351999"/>
          </a:xfrm>
          <a:prstGeom prst="rect">
            <a:avLst/>
          </a:prstGeom>
        </p:spPr>
        <p:txBody>
          <a:bodyPr vert="horz" lIns="0" tIns="45720" rIns="91440" bIns="45720" rtlCol="0" anchor="ctr">
            <a:noAutofit/>
          </a:bodyPr>
          <a:lstStyle>
            <a:lvl1pPr algn="ctr">
              <a:defRPr lang="en-US" sz="14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date</a:t>
            </a: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31800" y="6063397"/>
            <a:ext cx="2794000" cy="256498"/>
          </a:xfrm>
          <a:prstGeom prst="rect">
            <a:avLst/>
          </a:prstGeom>
        </p:spPr>
      </p:pic>
    </p:spTree>
    <p:extLst>
      <p:ext uri="{BB962C8B-B14F-4D97-AF65-F5344CB8AC3E}">
        <p14:creationId xmlns:p14="http://schemas.microsoft.com/office/powerpoint/2010/main" val="1507549736"/>
      </p:ext>
    </p:extLst>
  </p:cSld>
  <p:clrMapOvr>
    <a:masterClrMapping/>
  </p:clrMapOvr>
  <p:extLst>
    <p:ext uri="{DCECCB84-F9BA-43D5-87BE-67443E8EF086}">
      <p15:sldGuideLst xmlns:p15="http://schemas.microsoft.com/office/powerpoint/2012/main">
        <p15:guide id="1" pos="144">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2304363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867525"/>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5" name="Freeform 24"/>
          <p:cNvSpPr>
            <a:spLocks noChangeAspect="1"/>
          </p:cNvSpPr>
          <p:nvPr userDrawn="1"/>
        </p:nvSpPr>
        <p:spPr>
          <a:xfrm rot="2700000">
            <a:off x="7695761" y="1562620"/>
            <a:ext cx="4958913" cy="4423596"/>
          </a:xfrm>
          <a:custGeom>
            <a:avLst/>
            <a:gdLst>
              <a:gd name="connsiteX0" fmla="*/ 2827003 w 6223979"/>
              <a:gd name="connsiteY0" fmla="*/ 3779233 h 5552097"/>
              <a:gd name="connsiteX1" fmla="*/ 3070847 w 6223979"/>
              <a:gd name="connsiteY1" fmla="*/ 3678229 h 5552097"/>
              <a:gd name="connsiteX2" fmla="*/ 4255019 w 6223979"/>
              <a:gd name="connsiteY2" fmla="*/ 3678229 h 5552097"/>
              <a:gd name="connsiteX3" fmla="*/ 4599867 w 6223979"/>
              <a:gd name="connsiteY3" fmla="*/ 4023077 h 5552097"/>
              <a:gd name="connsiteX4" fmla="*/ 4599867 w 6223979"/>
              <a:gd name="connsiteY4" fmla="*/ 5207249 h 5552097"/>
              <a:gd name="connsiteX5" fmla="*/ 4255019 w 6223979"/>
              <a:gd name="connsiteY5" fmla="*/ 5552097 h 5552097"/>
              <a:gd name="connsiteX6" fmla="*/ 3070847 w 6223979"/>
              <a:gd name="connsiteY6" fmla="*/ 5552097 h 5552097"/>
              <a:gd name="connsiteX7" fmla="*/ 2725999 w 6223979"/>
              <a:gd name="connsiteY7" fmla="*/ 5207249 h 5552097"/>
              <a:gd name="connsiteX8" fmla="*/ 2725999 w 6223979"/>
              <a:gd name="connsiteY8" fmla="*/ 4023077 h 5552097"/>
              <a:gd name="connsiteX9" fmla="*/ 2827003 w 6223979"/>
              <a:gd name="connsiteY9" fmla="*/ 3779233 h 5552097"/>
              <a:gd name="connsiteX10" fmla="*/ 846207 w 6223979"/>
              <a:gd name="connsiteY10" fmla="*/ 3212041 h 5552097"/>
              <a:gd name="connsiteX11" fmla="*/ 1090051 w 6223979"/>
              <a:gd name="connsiteY11" fmla="*/ 3111037 h 5552097"/>
              <a:gd name="connsiteX12" fmla="*/ 2274222 w 6223979"/>
              <a:gd name="connsiteY12" fmla="*/ 3111037 h 5552097"/>
              <a:gd name="connsiteX13" fmla="*/ 2619070 w 6223979"/>
              <a:gd name="connsiteY13" fmla="*/ 3455885 h 5552097"/>
              <a:gd name="connsiteX14" fmla="*/ 2619071 w 6223979"/>
              <a:gd name="connsiteY14" fmla="*/ 4640057 h 5552097"/>
              <a:gd name="connsiteX15" fmla="*/ 2274223 w 6223979"/>
              <a:gd name="connsiteY15" fmla="*/ 4984905 h 5552097"/>
              <a:gd name="connsiteX16" fmla="*/ 1090051 w 6223979"/>
              <a:gd name="connsiteY16" fmla="*/ 4984905 h 5552097"/>
              <a:gd name="connsiteX17" fmla="*/ 745203 w 6223979"/>
              <a:gd name="connsiteY17" fmla="*/ 4640057 h 5552097"/>
              <a:gd name="connsiteX18" fmla="*/ 745203 w 6223979"/>
              <a:gd name="connsiteY18" fmla="*/ 3455885 h 5552097"/>
              <a:gd name="connsiteX19" fmla="*/ 846207 w 6223979"/>
              <a:gd name="connsiteY19" fmla="*/ 3212041 h 5552097"/>
              <a:gd name="connsiteX20" fmla="*/ 2849097 w 6223979"/>
              <a:gd name="connsiteY20" fmla="*/ 192274 h 5552097"/>
              <a:gd name="connsiteX21" fmla="*/ 3313287 w 6223979"/>
              <a:gd name="connsiteY21" fmla="*/ 0 h 5552097"/>
              <a:gd name="connsiteX22" fmla="*/ 3939004 w 6223979"/>
              <a:gd name="connsiteY22" fmla="*/ 0 h 5552097"/>
              <a:gd name="connsiteX23" fmla="*/ 6223979 w 6223979"/>
              <a:gd name="connsiteY23" fmla="*/ 2284975 h 5552097"/>
              <a:gd name="connsiteX24" fmla="*/ 6223979 w 6223979"/>
              <a:gd name="connsiteY24" fmla="*/ 2910692 h 5552097"/>
              <a:gd name="connsiteX25" fmla="*/ 5567515 w 6223979"/>
              <a:gd name="connsiteY25" fmla="*/ 3567156 h 5552097"/>
              <a:gd name="connsiteX26" fmla="*/ 3313287 w 6223979"/>
              <a:gd name="connsiteY26" fmla="*/ 3567156 h 5552097"/>
              <a:gd name="connsiteX27" fmla="*/ 2656823 w 6223979"/>
              <a:gd name="connsiteY27" fmla="*/ 2910692 h 5552097"/>
              <a:gd name="connsiteX28" fmla="*/ 2656823 w 6223979"/>
              <a:gd name="connsiteY28" fmla="*/ 656464 h 5552097"/>
              <a:gd name="connsiteX29" fmla="*/ 2849097 w 6223979"/>
              <a:gd name="connsiteY29" fmla="*/ 192274 h 5552097"/>
              <a:gd name="connsiteX30" fmla="*/ 138004 w 6223979"/>
              <a:gd name="connsiteY30" fmla="*/ 591293 h 5552097"/>
              <a:gd name="connsiteX31" fmla="*/ 471176 w 6223979"/>
              <a:gd name="connsiteY31" fmla="*/ 453288 h 5552097"/>
              <a:gd name="connsiteX32" fmla="*/ 2089144 w 6223979"/>
              <a:gd name="connsiteY32" fmla="*/ 453288 h 5552097"/>
              <a:gd name="connsiteX33" fmla="*/ 2560320 w 6223979"/>
              <a:gd name="connsiteY33" fmla="*/ 924464 h 5552097"/>
              <a:gd name="connsiteX34" fmla="*/ 2560320 w 6223979"/>
              <a:gd name="connsiteY34" fmla="*/ 2542432 h 5552097"/>
              <a:gd name="connsiteX35" fmla="*/ 2089144 w 6223979"/>
              <a:gd name="connsiteY35" fmla="*/ 3013609 h 5552097"/>
              <a:gd name="connsiteX36" fmla="*/ 471176 w 6223979"/>
              <a:gd name="connsiteY36" fmla="*/ 3013609 h 5552097"/>
              <a:gd name="connsiteX37" fmla="*/ 0 w 6223979"/>
              <a:gd name="connsiteY37" fmla="*/ 2542433 h 5552097"/>
              <a:gd name="connsiteX38" fmla="*/ 0 w 6223979"/>
              <a:gd name="connsiteY38" fmla="*/ 924465 h 5552097"/>
              <a:gd name="connsiteX39" fmla="*/ 138004 w 6223979"/>
              <a:gd name="connsiteY39" fmla="*/ 591293 h 555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3979" h="5552097">
                <a:moveTo>
                  <a:pt x="2827003" y="3779233"/>
                </a:moveTo>
                <a:cubicBezTo>
                  <a:pt x="2889408" y="3716828"/>
                  <a:pt x="2975620" y="3678230"/>
                  <a:pt x="3070847" y="3678229"/>
                </a:cubicBezTo>
                <a:lnTo>
                  <a:pt x="4255019" y="3678229"/>
                </a:lnTo>
                <a:cubicBezTo>
                  <a:pt x="4445473" y="3678229"/>
                  <a:pt x="4599867" y="3832623"/>
                  <a:pt x="4599867" y="4023077"/>
                </a:cubicBezTo>
                <a:lnTo>
                  <a:pt x="4599867" y="5207249"/>
                </a:lnTo>
                <a:cubicBezTo>
                  <a:pt x="4599867" y="5397703"/>
                  <a:pt x="4445473" y="5552097"/>
                  <a:pt x="4255019" y="5552097"/>
                </a:cubicBezTo>
                <a:lnTo>
                  <a:pt x="3070847" y="5552097"/>
                </a:lnTo>
                <a:cubicBezTo>
                  <a:pt x="2880393" y="5552097"/>
                  <a:pt x="2725999" y="5397703"/>
                  <a:pt x="2725999" y="5207249"/>
                </a:cubicBezTo>
                <a:lnTo>
                  <a:pt x="2725999" y="4023077"/>
                </a:lnTo>
                <a:cubicBezTo>
                  <a:pt x="2725999" y="3927850"/>
                  <a:pt x="2764598" y="3841638"/>
                  <a:pt x="2827003" y="3779233"/>
                </a:cubicBezTo>
                <a:close/>
                <a:moveTo>
                  <a:pt x="846207" y="3212041"/>
                </a:moveTo>
                <a:cubicBezTo>
                  <a:pt x="908612" y="3149635"/>
                  <a:pt x="994824" y="3111037"/>
                  <a:pt x="1090051" y="3111037"/>
                </a:cubicBezTo>
                <a:lnTo>
                  <a:pt x="2274222" y="3111037"/>
                </a:lnTo>
                <a:cubicBezTo>
                  <a:pt x="2464677" y="3111037"/>
                  <a:pt x="2619071" y="3265431"/>
                  <a:pt x="2619070" y="3455885"/>
                </a:cubicBezTo>
                <a:lnTo>
                  <a:pt x="2619071" y="4640057"/>
                </a:lnTo>
                <a:cubicBezTo>
                  <a:pt x="2619071" y="4830511"/>
                  <a:pt x="2464677" y="4984905"/>
                  <a:pt x="2274223" y="4984905"/>
                </a:cubicBezTo>
                <a:lnTo>
                  <a:pt x="1090051" y="4984905"/>
                </a:lnTo>
                <a:cubicBezTo>
                  <a:pt x="899597" y="4984905"/>
                  <a:pt x="745203" y="4830511"/>
                  <a:pt x="745203" y="4640057"/>
                </a:cubicBezTo>
                <a:lnTo>
                  <a:pt x="745203" y="3455885"/>
                </a:lnTo>
                <a:cubicBezTo>
                  <a:pt x="745203" y="3360658"/>
                  <a:pt x="783801" y="3274446"/>
                  <a:pt x="846207" y="3212041"/>
                </a:cubicBezTo>
                <a:close/>
                <a:moveTo>
                  <a:pt x="2849097" y="192274"/>
                </a:moveTo>
                <a:cubicBezTo>
                  <a:pt x="2967894" y="73477"/>
                  <a:pt x="3132010" y="0"/>
                  <a:pt x="3313287" y="0"/>
                </a:cubicBezTo>
                <a:lnTo>
                  <a:pt x="3939004" y="0"/>
                </a:lnTo>
                <a:lnTo>
                  <a:pt x="6223979" y="2284975"/>
                </a:lnTo>
                <a:lnTo>
                  <a:pt x="6223979" y="2910692"/>
                </a:lnTo>
                <a:cubicBezTo>
                  <a:pt x="6223979" y="3273247"/>
                  <a:pt x="5930070" y="3567156"/>
                  <a:pt x="5567515" y="3567156"/>
                </a:cubicBezTo>
                <a:lnTo>
                  <a:pt x="3313287" y="3567156"/>
                </a:lnTo>
                <a:cubicBezTo>
                  <a:pt x="2950732" y="3567156"/>
                  <a:pt x="2656823" y="3273247"/>
                  <a:pt x="2656823" y="2910692"/>
                </a:cubicBezTo>
                <a:lnTo>
                  <a:pt x="2656823" y="656464"/>
                </a:lnTo>
                <a:cubicBezTo>
                  <a:pt x="2656823" y="475186"/>
                  <a:pt x="2730300" y="311071"/>
                  <a:pt x="2849097" y="192274"/>
                </a:cubicBezTo>
                <a:close/>
                <a:moveTo>
                  <a:pt x="138004" y="591293"/>
                </a:moveTo>
                <a:cubicBezTo>
                  <a:pt x="223271" y="506026"/>
                  <a:pt x="341065" y="453288"/>
                  <a:pt x="471176" y="453288"/>
                </a:cubicBezTo>
                <a:lnTo>
                  <a:pt x="2089144" y="453288"/>
                </a:lnTo>
                <a:cubicBezTo>
                  <a:pt x="2349367" y="453289"/>
                  <a:pt x="2560320" y="664242"/>
                  <a:pt x="2560320" y="924464"/>
                </a:cubicBezTo>
                <a:lnTo>
                  <a:pt x="2560320" y="2542432"/>
                </a:lnTo>
                <a:cubicBezTo>
                  <a:pt x="2560320" y="2802655"/>
                  <a:pt x="2349367" y="3013608"/>
                  <a:pt x="2089144" y="3013609"/>
                </a:cubicBezTo>
                <a:lnTo>
                  <a:pt x="471176" y="3013609"/>
                </a:lnTo>
                <a:cubicBezTo>
                  <a:pt x="210953" y="3013609"/>
                  <a:pt x="0" y="2802656"/>
                  <a:pt x="0" y="2542433"/>
                </a:cubicBezTo>
                <a:lnTo>
                  <a:pt x="0" y="924465"/>
                </a:lnTo>
                <a:cubicBezTo>
                  <a:pt x="0" y="794353"/>
                  <a:pt x="52739" y="676559"/>
                  <a:pt x="138004" y="591293"/>
                </a:cubicBezTo>
                <a:close/>
              </a:path>
            </a:pathLst>
          </a:custGeom>
          <a:solidFill>
            <a:srgbClr val="C6DFE7">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7"/>
          <p:cNvSpPr>
            <a:spLocks noGrp="1"/>
          </p:cNvSpPr>
          <p:nvPr>
            <p:ph type="title"/>
          </p:nvPr>
        </p:nvSpPr>
        <p:spPr>
          <a:xfrm>
            <a:off x="381000" y="2819400"/>
            <a:ext cx="7239000" cy="619125"/>
          </a:xfrm>
        </p:spPr>
        <p:txBody>
          <a:bodyPr vert="horz">
            <a:noAutofit/>
          </a:bodyPr>
          <a:lstStyle>
            <a:lvl1pPr>
              <a:defRPr sz="3600">
                <a:solidFill>
                  <a:schemeClr val="bg1"/>
                </a:solidFill>
              </a:defRPr>
            </a:lvl1pPr>
          </a:lstStyle>
          <a:p>
            <a:r>
              <a:rPr lang="en-US"/>
              <a:t>Click to edit Master title style</a:t>
            </a:r>
          </a:p>
        </p:txBody>
      </p:sp>
      <p:sp>
        <p:nvSpPr>
          <p:cNvPr id="21" name="Text Placeholder 8"/>
          <p:cNvSpPr>
            <a:spLocks noGrp="1"/>
          </p:cNvSpPr>
          <p:nvPr>
            <p:ph type="body" sz="quarter" idx="10" hasCustomPrompt="1"/>
          </p:nvPr>
        </p:nvSpPr>
        <p:spPr>
          <a:xfrm>
            <a:off x="381000" y="3573016"/>
            <a:ext cx="5531585" cy="838200"/>
          </a:xfrm>
          <a:prstGeom prst="rect">
            <a:avLst/>
          </a:prstGeom>
        </p:spPr>
        <p:txBody>
          <a:bodyPr vert="horz" lIns="0" tIns="45720" rIns="91440" bIns="45720" rtlCol="0" anchor="ctr">
            <a:noAutofit/>
          </a:bodyPr>
          <a:lstStyle>
            <a:lvl1pPr>
              <a:defRPr lang="en-US" sz="24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text</a:t>
            </a:r>
          </a:p>
        </p:txBody>
      </p:sp>
      <p:sp>
        <p:nvSpPr>
          <p:cNvPr id="22" name="Text Placeholder 8"/>
          <p:cNvSpPr>
            <a:spLocks noGrp="1"/>
          </p:cNvSpPr>
          <p:nvPr>
            <p:ph type="body" sz="quarter" idx="11" hasCustomPrompt="1"/>
          </p:nvPr>
        </p:nvSpPr>
        <p:spPr>
          <a:xfrm>
            <a:off x="381000" y="6179451"/>
            <a:ext cx="5531585" cy="526149"/>
          </a:xfrm>
          <a:prstGeom prst="rect">
            <a:avLst/>
          </a:prstGeom>
        </p:spPr>
        <p:txBody>
          <a:bodyPr vert="horz" lIns="0" tIns="45720" rIns="91440" bIns="45720" rtlCol="0" anchor="ctr">
            <a:noAutofit/>
          </a:bodyPr>
          <a:lstStyle>
            <a:lvl1pPr>
              <a:defRPr lang="en-US" sz="14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date</a:t>
            </a:r>
          </a:p>
        </p:txBody>
      </p:sp>
      <p:sp>
        <p:nvSpPr>
          <p:cNvPr id="23" name="Rectangle 22"/>
          <p:cNvSpPr/>
          <p:nvPr userDrawn="1"/>
        </p:nvSpPr>
        <p:spPr bwMode="auto">
          <a:xfrm>
            <a:off x="0" y="6248400"/>
            <a:ext cx="12192000" cy="381000"/>
          </a:xfrm>
          <a:prstGeom prst="rect">
            <a:avLst/>
          </a:prstGeom>
          <a:solidFill>
            <a:schemeClr val="bg1">
              <a:alpha val="1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pic>
        <p:nvPicPr>
          <p:cNvPr id="24" name="Picture 23"/>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321800" y="6324600"/>
            <a:ext cx="2794000" cy="256498"/>
          </a:xfrm>
          <a:prstGeom prst="rect">
            <a:avLst/>
          </a:prstGeom>
        </p:spPr>
      </p:pic>
      <p:sp>
        <p:nvSpPr>
          <p:cNvPr id="10" name="Text Placeholder 8"/>
          <p:cNvSpPr>
            <a:spLocks noGrp="1"/>
          </p:cNvSpPr>
          <p:nvPr>
            <p:ph type="body" sz="quarter" idx="12" hasCustomPrompt="1"/>
          </p:nvPr>
        </p:nvSpPr>
        <p:spPr>
          <a:xfrm>
            <a:off x="381000" y="5359160"/>
            <a:ext cx="5531585" cy="355840"/>
          </a:xfrm>
          <a:prstGeom prst="rect">
            <a:avLst/>
          </a:prstGeom>
        </p:spPr>
        <p:txBody>
          <a:bodyPr vert="horz" lIns="0" tIns="45720" rIns="91440" bIns="45720" rtlCol="0" anchor="ctr">
            <a:noAutofit/>
          </a:bodyPr>
          <a:lstStyle>
            <a:lvl1pPr>
              <a:defRPr lang="en-US" sz="18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presenter name</a:t>
            </a:r>
          </a:p>
        </p:txBody>
      </p:sp>
    </p:spTree>
    <p:extLst>
      <p:ext uri="{BB962C8B-B14F-4D97-AF65-F5344CB8AC3E}">
        <p14:creationId xmlns:p14="http://schemas.microsoft.com/office/powerpoint/2010/main" val="3919888875"/>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_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9525"/>
            <a:ext cx="12192000" cy="6858000"/>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10" name="Freeform: Shape 14">
            <a:extLst>
              <a:ext uri="{FF2B5EF4-FFF2-40B4-BE49-F238E27FC236}">
                <a16:creationId xmlns:a16="http://schemas.microsoft.com/office/drawing/2014/main" id="{2EE3B55F-F677-4B63-B959-080FA3852B7E}"/>
              </a:ext>
            </a:extLst>
          </p:cNvPr>
          <p:cNvSpPr/>
          <p:nvPr userDrawn="1"/>
        </p:nvSpPr>
        <p:spPr>
          <a:xfrm>
            <a:off x="0" y="0"/>
            <a:ext cx="11277600" cy="6858000"/>
          </a:xfrm>
          <a:custGeom>
            <a:avLst/>
            <a:gdLst>
              <a:gd name="connsiteX0" fmla="*/ 8494919 w 10058400"/>
              <a:gd name="connsiteY0" fmla="*/ 0 h 6858000"/>
              <a:gd name="connsiteX1" fmla="*/ 9660112 w 10058400"/>
              <a:gd name="connsiteY1" fmla="*/ 0 h 6858000"/>
              <a:gd name="connsiteX2" fmla="*/ 7355681 w 10058400"/>
              <a:gd name="connsiteY2" fmla="*/ 2424112 h 6858000"/>
              <a:gd name="connsiteX3" fmla="*/ 7362167 w 10058400"/>
              <a:gd name="connsiteY3" fmla="*/ 2410312 h 6858000"/>
              <a:gd name="connsiteX4" fmla="*/ 7338441 w 10058400"/>
              <a:gd name="connsiteY4" fmla="*/ 2435201 h 6858000"/>
              <a:gd name="connsiteX5" fmla="*/ 10058400 w 10058400"/>
              <a:gd name="connsiteY5" fmla="*/ 6041366 h 6858000"/>
              <a:gd name="connsiteX6" fmla="*/ 9573175 w 10058400"/>
              <a:gd name="connsiteY6" fmla="*/ 6858000 h 6858000"/>
              <a:gd name="connsiteX7" fmla="*/ 0 w 10058400"/>
              <a:gd name="connsiteY7" fmla="*/ 6858000 h 6858000"/>
              <a:gd name="connsiteX8" fmla="*/ 0 w 10058400"/>
              <a:gd name="connsiteY8" fmla="*/ 1 h 6858000"/>
              <a:gd name="connsiteX9" fmla="*/ 8494919 w 10058400"/>
              <a:gd name="connsiteY9"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0" h="6858000">
                <a:moveTo>
                  <a:pt x="8494919" y="0"/>
                </a:moveTo>
                <a:lnTo>
                  <a:pt x="9660112" y="0"/>
                </a:lnTo>
                <a:lnTo>
                  <a:pt x="7355681" y="2424112"/>
                </a:lnTo>
                <a:lnTo>
                  <a:pt x="7362167" y="2410312"/>
                </a:lnTo>
                <a:lnTo>
                  <a:pt x="7338441" y="2435201"/>
                </a:lnTo>
                <a:lnTo>
                  <a:pt x="10058400" y="6041366"/>
                </a:lnTo>
                <a:lnTo>
                  <a:pt x="9573175" y="6858000"/>
                </a:lnTo>
                <a:lnTo>
                  <a:pt x="0" y="6858000"/>
                </a:lnTo>
                <a:lnTo>
                  <a:pt x="0" y="1"/>
                </a:lnTo>
                <a:lnTo>
                  <a:pt x="8494919" y="1"/>
                </a:lnTo>
                <a:close/>
              </a:path>
            </a:pathLst>
          </a:custGeom>
          <a:gradFill flip="none" rotWithShape="1">
            <a:gsLst>
              <a:gs pos="0">
                <a:schemeClr val="accent2">
                  <a:lumMod val="67000"/>
                  <a:alpha val="20000"/>
                </a:schemeClr>
              </a:gs>
              <a:gs pos="100000">
                <a:schemeClr val="accent2">
                  <a:lumMod val="60000"/>
                  <a:lumOff val="40000"/>
                  <a:alpha val="20000"/>
                </a:schemeClr>
              </a:gs>
            </a:gsLst>
            <a:lin ang="0" scaled="0"/>
            <a:tileRect/>
          </a:gradFill>
          <a:ln w="12700">
            <a:miter lim="400000"/>
          </a:ln>
        </p:spPr>
        <p:txBody>
          <a:bodyPr wrap="square" lIns="38100" tIns="38100" rIns="38100" bIns="38100" anchor="ctr">
            <a:noAutofit/>
          </a:bodyPr>
          <a:lstStyle/>
          <a:p>
            <a:pPr>
              <a:defRPr sz="3000">
                <a:solidFill>
                  <a:srgbClr val="FFFFFF"/>
                </a:solidFill>
              </a:defRPr>
            </a:pPr>
            <a:endParaRPr/>
          </a:p>
        </p:txBody>
      </p:sp>
      <p:sp>
        <p:nvSpPr>
          <p:cNvPr id="12" name="Shape">
            <a:extLst>
              <a:ext uri="{FF2B5EF4-FFF2-40B4-BE49-F238E27FC236}">
                <a16:creationId xmlns:a16="http://schemas.microsoft.com/office/drawing/2014/main" id="{5E674812-0E69-C74D-9C92-612EC5A8FB02}"/>
              </a:ext>
            </a:extLst>
          </p:cNvPr>
          <p:cNvSpPr/>
          <p:nvPr userDrawn="1"/>
        </p:nvSpPr>
        <p:spPr>
          <a:xfrm>
            <a:off x="1295400" y="-11433"/>
            <a:ext cx="10744200" cy="6869433"/>
          </a:xfrm>
          <a:custGeom>
            <a:avLst/>
            <a:gdLst/>
            <a:ahLst/>
            <a:cxnLst>
              <a:cxn ang="0">
                <a:pos x="wd2" y="hd2"/>
              </a:cxn>
              <a:cxn ang="5400000">
                <a:pos x="wd2" y="hd2"/>
              </a:cxn>
              <a:cxn ang="10800000">
                <a:pos x="wd2" y="hd2"/>
              </a:cxn>
              <a:cxn ang="16200000">
                <a:pos x="wd2" y="hd2"/>
              </a:cxn>
            </a:cxnLst>
            <a:rect l="0" t="0" r="r" b="b"/>
            <a:pathLst>
              <a:path w="21600" h="21600" extrusionOk="0">
                <a:moveTo>
                  <a:pt x="21469" y="12299"/>
                </a:moveTo>
                <a:cubicBezTo>
                  <a:pt x="21446" y="12299"/>
                  <a:pt x="21426" y="12307"/>
                  <a:pt x="21409" y="12319"/>
                </a:cubicBezTo>
                <a:lnTo>
                  <a:pt x="18546" y="6210"/>
                </a:lnTo>
                <a:cubicBezTo>
                  <a:pt x="18575" y="6174"/>
                  <a:pt x="18595" y="6126"/>
                  <a:pt x="18595" y="6066"/>
                </a:cubicBezTo>
                <a:cubicBezTo>
                  <a:pt x="18595" y="5978"/>
                  <a:pt x="18552" y="5910"/>
                  <a:pt x="18495" y="5886"/>
                </a:cubicBezTo>
                <a:lnTo>
                  <a:pt x="19125" y="72"/>
                </a:lnTo>
                <a:lnTo>
                  <a:pt x="19111" y="68"/>
                </a:lnTo>
                <a:lnTo>
                  <a:pt x="19100" y="56"/>
                </a:lnTo>
                <a:lnTo>
                  <a:pt x="14005" y="7547"/>
                </a:lnTo>
                <a:cubicBezTo>
                  <a:pt x="13985" y="7527"/>
                  <a:pt x="13962" y="7511"/>
                  <a:pt x="13937" y="7511"/>
                </a:cubicBezTo>
                <a:lnTo>
                  <a:pt x="13791" y="40"/>
                </a:lnTo>
                <a:lnTo>
                  <a:pt x="13791" y="0"/>
                </a:lnTo>
                <a:lnTo>
                  <a:pt x="9313" y="4680"/>
                </a:lnTo>
                <a:cubicBezTo>
                  <a:pt x="9290" y="4644"/>
                  <a:pt x="9256" y="4620"/>
                  <a:pt x="9216" y="4620"/>
                </a:cubicBezTo>
                <a:cubicBezTo>
                  <a:pt x="9196" y="4620"/>
                  <a:pt x="9176" y="4628"/>
                  <a:pt x="9159" y="4640"/>
                </a:cubicBezTo>
                <a:lnTo>
                  <a:pt x="7135" y="32"/>
                </a:lnTo>
                <a:lnTo>
                  <a:pt x="7110" y="52"/>
                </a:lnTo>
                <a:lnTo>
                  <a:pt x="9136" y="4660"/>
                </a:lnTo>
                <a:cubicBezTo>
                  <a:pt x="9105" y="4692"/>
                  <a:pt x="9085" y="4748"/>
                  <a:pt x="9085" y="4808"/>
                </a:cubicBezTo>
                <a:cubicBezTo>
                  <a:pt x="9085" y="4816"/>
                  <a:pt x="9085" y="4824"/>
                  <a:pt x="9088" y="4832"/>
                </a:cubicBezTo>
                <a:lnTo>
                  <a:pt x="4995" y="6246"/>
                </a:lnTo>
                <a:cubicBezTo>
                  <a:pt x="4992" y="6150"/>
                  <a:pt x="4935" y="6070"/>
                  <a:pt x="4866" y="6070"/>
                </a:cubicBezTo>
                <a:lnTo>
                  <a:pt x="4504" y="36"/>
                </a:lnTo>
                <a:lnTo>
                  <a:pt x="4475" y="40"/>
                </a:lnTo>
                <a:lnTo>
                  <a:pt x="4838" y="6074"/>
                </a:lnTo>
                <a:cubicBezTo>
                  <a:pt x="4778" y="6090"/>
                  <a:pt x="4729" y="6166"/>
                  <a:pt x="4729" y="6258"/>
                </a:cubicBezTo>
                <a:cubicBezTo>
                  <a:pt x="4729" y="6282"/>
                  <a:pt x="4732" y="6305"/>
                  <a:pt x="4741" y="6329"/>
                </a:cubicBezTo>
                <a:lnTo>
                  <a:pt x="2440" y="6956"/>
                </a:lnTo>
                <a:cubicBezTo>
                  <a:pt x="2429" y="6904"/>
                  <a:pt x="2403" y="6865"/>
                  <a:pt x="2369" y="6841"/>
                </a:cubicBezTo>
                <a:lnTo>
                  <a:pt x="3919" y="40"/>
                </a:lnTo>
                <a:lnTo>
                  <a:pt x="3890" y="28"/>
                </a:lnTo>
                <a:lnTo>
                  <a:pt x="2340" y="6829"/>
                </a:lnTo>
                <a:cubicBezTo>
                  <a:pt x="2332" y="6825"/>
                  <a:pt x="2323" y="6825"/>
                  <a:pt x="2315" y="6825"/>
                </a:cubicBezTo>
                <a:cubicBezTo>
                  <a:pt x="2300" y="6825"/>
                  <a:pt x="2286" y="6829"/>
                  <a:pt x="2272" y="6837"/>
                </a:cubicBezTo>
                <a:lnTo>
                  <a:pt x="26" y="16"/>
                </a:lnTo>
                <a:lnTo>
                  <a:pt x="0" y="32"/>
                </a:lnTo>
                <a:lnTo>
                  <a:pt x="2246" y="6853"/>
                </a:lnTo>
                <a:cubicBezTo>
                  <a:pt x="2206" y="6885"/>
                  <a:pt x="2181" y="6944"/>
                  <a:pt x="2181" y="7012"/>
                </a:cubicBezTo>
                <a:cubicBezTo>
                  <a:pt x="2181" y="7116"/>
                  <a:pt x="2240" y="7196"/>
                  <a:pt x="2312" y="7196"/>
                </a:cubicBezTo>
                <a:cubicBezTo>
                  <a:pt x="2383" y="7196"/>
                  <a:pt x="2443" y="7112"/>
                  <a:pt x="2443" y="7012"/>
                </a:cubicBezTo>
                <a:cubicBezTo>
                  <a:pt x="2443" y="7008"/>
                  <a:pt x="2443" y="7000"/>
                  <a:pt x="2443" y="6996"/>
                </a:cubicBezTo>
                <a:lnTo>
                  <a:pt x="4752" y="6361"/>
                </a:lnTo>
                <a:cubicBezTo>
                  <a:pt x="4775" y="6409"/>
                  <a:pt x="4815" y="6437"/>
                  <a:pt x="4861" y="6437"/>
                </a:cubicBezTo>
                <a:cubicBezTo>
                  <a:pt x="4872" y="6437"/>
                  <a:pt x="4883" y="6433"/>
                  <a:pt x="4892" y="6429"/>
                </a:cubicBezTo>
                <a:lnTo>
                  <a:pt x="7178" y="12655"/>
                </a:lnTo>
                <a:cubicBezTo>
                  <a:pt x="7144" y="12687"/>
                  <a:pt x="7124" y="12743"/>
                  <a:pt x="7124" y="12803"/>
                </a:cubicBezTo>
                <a:cubicBezTo>
                  <a:pt x="7124" y="12906"/>
                  <a:pt x="7184" y="12986"/>
                  <a:pt x="7255" y="12986"/>
                </a:cubicBezTo>
                <a:cubicBezTo>
                  <a:pt x="7329" y="12986"/>
                  <a:pt x="7386" y="12902"/>
                  <a:pt x="7386" y="12803"/>
                </a:cubicBezTo>
                <a:lnTo>
                  <a:pt x="11003" y="12311"/>
                </a:lnTo>
                <a:cubicBezTo>
                  <a:pt x="11008" y="12403"/>
                  <a:pt x="11065" y="12479"/>
                  <a:pt x="11134" y="12479"/>
                </a:cubicBezTo>
                <a:cubicBezTo>
                  <a:pt x="11145" y="12479"/>
                  <a:pt x="11157" y="12475"/>
                  <a:pt x="11165" y="12475"/>
                </a:cubicBezTo>
                <a:lnTo>
                  <a:pt x="13303" y="21588"/>
                </a:lnTo>
                <a:lnTo>
                  <a:pt x="13332" y="21576"/>
                </a:lnTo>
                <a:lnTo>
                  <a:pt x="11197" y="12463"/>
                </a:lnTo>
                <a:cubicBezTo>
                  <a:pt x="11220" y="12447"/>
                  <a:pt x="11240" y="12419"/>
                  <a:pt x="11254" y="12387"/>
                </a:cubicBezTo>
                <a:lnTo>
                  <a:pt x="19908" y="18944"/>
                </a:lnTo>
                <a:cubicBezTo>
                  <a:pt x="19905" y="18960"/>
                  <a:pt x="19902" y="18980"/>
                  <a:pt x="19902" y="19000"/>
                </a:cubicBezTo>
                <a:cubicBezTo>
                  <a:pt x="19902" y="19032"/>
                  <a:pt x="19908" y="19060"/>
                  <a:pt x="19919" y="19088"/>
                </a:cubicBezTo>
                <a:lnTo>
                  <a:pt x="16742" y="21564"/>
                </a:lnTo>
                <a:lnTo>
                  <a:pt x="16757" y="21600"/>
                </a:lnTo>
                <a:lnTo>
                  <a:pt x="19933" y="19120"/>
                </a:lnTo>
                <a:cubicBezTo>
                  <a:pt x="19942" y="19132"/>
                  <a:pt x="19950" y="19144"/>
                  <a:pt x="19959" y="19156"/>
                </a:cubicBezTo>
                <a:lnTo>
                  <a:pt x="18931" y="21572"/>
                </a:lnTo>
                <a:lnTo>
                  <a:pt x="18957" y="21592"/>
                </a:lnTo>
                <a:lnTo>
                  <a:pt x="19985" y="19172"/>
                </a:lnTo>
                <a:cubicBezTo>
                  <a:pt x="19999" y="19180"/>
                  <a:pt x="20016" y="19184"/>
                  <a:pt x="20033" y="19184"/>
                </a:cubicBezTo>
                <a:lnTo>
                  <a:pt x="20033" y="19184"/>
                </a:lnTo>
                <a:lnTo>
                  <a:pt x="20047" y="19188"/>
                </a:lnTo>
                <a:lnTo>
                  <a:pt x="20050" y="19180"/>
                </a:lnTo>
                <a:cubicBezTo>
                  <a:pt x="20116" y="19168"/>
                  <a:pt x="20167" y="19092"/>
                  <a:pt x="20167" y="18996"/>
                </a:cubicBezTo>
                <a:cubicBezTo>
                  <a:pt x="20167" y="18940"/>
                  <a:pt x="20147" y="18889"/>
                  <a:pt x="20119" y="18857"/>
                </a:cubicBezTo>
                <a:lnTo>
                  <a:pt x="21446" y="12663"/>
                </a:lnTo>
                <a:cubicBezTo>
                  <a:pt x="21454" y="12667"/>
                  <a:pt x="21463" y="12667"/>
                  <a:pt x="21469" y="12667"/>
                </a:cubicBezTo>
                <a:cubicBezTo>
                  <a:pt x="21543" y="12667"/>
                  <a:pt x="21600" y="12583"/>
                  <a:pt x="21600" y="12483"/>
                </a:cubicBezTo>
                <a:cubicBezTo>
                  <a:pt x="21600" y="12383"/>
                  <a:pt x="21540" y="12299"/>
                  <a:pt x="21469" y="12299"/>
                </a:cubicBezTo>
                <a:close/>
                <a:moveTo>
                  <a:pt x="21383" y="12339"/>
                </a:moveTo>
                <a:cubicBezTo>
                  <a:pt x="21372" y="12351"/>
                  <a:pt x="21360" y="12367"/>
                  <a:pt x="21355" y="12387"/>
                </a:cubicBezTo>
                <a:lnTo>
                  <a:pt x="14048" y="7751"/>
                </a:lnTo>
                <a:cubicBezTo>
                  <a:pt x="14054" y="7731"/>
                  <a:pt x="14057" y="7715"/>
                  <a:pt x="14057" y="7695"/>
                </a:cubicBezTo>
                <a:cubicBezTo>
                  <a:pt x="14057" y="7687"/>
                  <a:pt x="14057" y="7679"/>
                  <a:pt x="14054" y="7667"/>
                </a:cubicBezTo>
                <a:lnTo>
                  <a:pt x="18338" y="6130"/>
                </a:lnTo>
                <a:cubicBezTo>
                  <a:pt x="18358" y="6202"/>
                  <a:pt x="18403" y="6250"/>
                  <a:pt x="18460" y="6250"/>
                </a:cubicBezTo>
                <a:cubicBezTo>
                  <a:pt x="18483" y="6250"/>
                  <a:pt x="18503" y="6242"/>
                  <a:pt x="18520" y="6230"/>
                </a:cubicBezTo>
                <a:lnTo>
                  <a:pt x="21383" y="12339"/>
                </a:lnTo>
                <a:close/>
                <a:moveTo>
                  <a:pt x="11137" y="12112"/>
                </a:moveTo>
                <a:cubicBezTo>
                  <a:pt x="11068" y="12112"/>
                  <a:pt x="11014" y="12184"/>
                  <a:pt x="11005" y="12276"/>
                </a:cubicBezTo>
                <a:lnTo>
                  <a:pt x="7386" y="12767"/>
                </a:lnTo>
                <a:cubicBezTo>
                  <a:pt x="7378" y="12707"/>
                  <a:pt x="7347" y="12655"/>
                  <a:pt x="7307" y="12635"/>
                </a:cubicBezTo>
                <a:lnTo>
                  <a:pt x="9187" y="4988"/>
                </a:lnTo>
                <a:cubicBezTo>
                  <a:pt x="9196" y="4992"/>
                  <a:pt x="9207" y="4992"/>
                  <a:pt x="9216" y="4992"/>
                </a:cubicBezTo>
                <a:cubicBezTo>
                  <a:pt x="9264" y="4992"/>
                  <a:pt x="9307" y="4956"/>
                  <a:pt x="9330" y="4900"/>
                </a:cubicBezTo>
                <a:lnTo>
                  <a:pt x="13797" y="7639"/>
                </a:lnTo>
                <a:cubicBezTo>
                  <a:pt x="13794" y="7655"/>
                  <a:pt x="13791" y="7675"/>
                  <a:pt x="13791" y="7695"/>
                </a:cubicBezTo>
                <a:cubicBezTo>
                  <a:pt x="13791" y="7743"/>
                  <a:pt x="13805" y="7791"/>
                  <a:pt x="13828" y="7823"/>
                </a:cubicBezTo>
                <a:lnTo>
                  <a:pt x="11205" y="12140"/>
                </a:lnTo>
                <a:cubicBezTo>
                  <a:pt x="11182" y="12124"/>
                  <a:pt x="11162" y="12112"/>
                  <a:pt x="11137" y="12112"/>
                </a:cubicBezTo>
                <a:close/>
                <a:moveTo>
                  <a:pt x="18460" y="5878"/>
                </a:moveTo>
                <a:cubicBezTo>
                  <a:pt x="18386" y="5878"/>
                  <a:pt x="18329" y="5962"/>
                  <a:pt x="18329" y="6062"/>
                </a:cubicBezTo>
                <a:cubicBezTo>
                  <a:pt x="18329" y="6070"/>
                  <a:pt x="18329" y="6078"/>
                  <a:pt x="18332" y="6090"/>
                </a:cubicBezTo>
                <a:lnTo>
                  <a:pt x="14048" y="7627"/>
                </a:lnTo>
                <a:cubicBezTo>
                  <a:pt x="14042" y="7607"/>
                  <a:pt x="14034" y="7587"/>
                  <a:pt x="14025" y="7571"/>
                </a:cubicBezTo>
                <a:lnTo>
                  <a:pt x="19091" y="128"/>
                </a:lnTo>
                <a:lnTo>
                  <a:pt x="18466" y="5878"/>
                </a:lnTo>
                <a:cubicBezTo>
                  <a:pt x="18466" y="5878"/>
                  <a:pt x="18463" y="5878"/>
                  <a:pt x="18460" y="5878"/>
                </a:cubicBezTo>
                <a:close/>
                <a:moveTo>
                  <a:pt x="13763" y="80"/>
                </a:moveTo>
                <a:lnTo>
                  <a:pt x="13905" y="7511"/>
                </a:lnTo>
                <a:cubicBezTo>
                  <a:pt x="13862" y="7519"/>
                  <a:pt x="13828" y="7555"/>
                  <a:pt x="13808" y="7603"/>
                </a:cubicBezTo>
                <a:lnTo>
                  <a:pt x="9342" y="4864"/>
                </a:lnTo>
                <a:cubicBezTo>
                  <a:pt x="9344" y="4848"/>
                  <a:pt x="9347" y="4828"/>
                  <a:pt x="9347" y="4808"/>
                </a:cubicBezTo>
                <a:cubicBezTo>
                  <a:pt x="9347" y="4772"/>
                  <a:pt x="9339" y="4740"/>
                  <a:pt x="9327" y="4712"/>
                </a:cubicBezTo>
                <a:lnTo>
                  <a:pt x="13763" y="80"/>
                </a:lnTo>
                <a:close/>
                <a:moveTo>
                  <a:pt x="4921" y="6413"/>
                </a:moveTo>
                <a:cubicBezTo>
                  <a:pt x="4958" y="6389"/>
                  <a:pt x="4983" y="6341"/>
                  <a:pt x="4992" y="6282"/>
                </a:cubicBezTo>
                <a:lnTo>
                  <a:pt x="9093" y="4868"/>
                </a:lnTo>
                <a:cubicBezTo>
                  <a:pt x="9105" y="4916"/>
                  <a:pt x="9130" y="4952"/>
                  <a:pt x="9162" y="4972"/>
                </a:cubicBezTo>
                <a:lnTo>
                  <a:pt x="7281" y="12623"/>
                </a:lnTo>
                <a:cubicBezTo>
                  <a:pt x="7272" y="12623"/>
                  <a:pt x="7267" y="12619"/>
                  <a:pt x="7258" y="12619"/>
                </a:cubicBezTo>
                <a:cubicBezTo>
                  <a:pt x="7238" y="12619"/>
                  <a:pt x="7221" y="12623"/>
                  <a:pt x="7204" y="12635"/>
                </a:cubicBezTo>
                <a:lnTo>
                  <a:pt x="4921" y="6413"/>
                </a:lnTo>
                <a:close/>
                <a:moveTo>
                  <a:pt x="11262" y="12351"/>
                </a:moveTo>
                <a:cubicBezTo>
                  <a:pt x="11265" y="12335"/>
                  <a:pt x="11268" y="12315"/>
                  <a:pt x="11268" y="12299"/>
                </a:cubicBezTo>
                <a:cubicBezTo>
                  <a:pt x="11268" y="12244"/>
                  <a:pt x="11251" y="12196"/>
                  <a:pt x="11225" y="12164"/>
                </a:cubicBezTo>
                <a:lnTo>
                  <a:pt x="13848" y="7851"/>
                </a:lnTo>
                <a:cubicBezTo>
                  <a:pt x="13868" y="7871"/>
                  <a:pt x="13894" y="7883"/>
                  <a:pt x="13922" y="7883"/>
                </a:cubicBezTo>
                <a:cubicBezTo>
                  <a:pt x="13948" y="7883"/>
                  <a:pt x="13971" y="7871"/>
                  <a:pt x="13991" y="7855"/>
                </a:cubicBezTo>
                <a:lnTo>
                  <a:pt x="19936" y="18877"/>
                </a:lnTo>
                <a:cubicBezTo>
                  <a:pt x="19927" y="18889"/>
                  <a:pt x="19922" y="18900"/>
                  <a:pt x="19919" y="18912"/>
                </a:cubicBezTo>
                <a:lnTo>
                  <a:pt x="11262" y="12351"/>
                </a:lnTo>
                <a:close/>
                <a:moveTo>
                  <a:pt x="20093" y="18837"/>
                </a:moveTo>
                <a:cubicBezTo>
                  <a:pt x="20076" y="18825"/>
                  <a:pt x="20056" y="18817"/>
                  <a:pt x="20033" y="18817"/>
                </a:cubicBezTo>
                <a:cubicBezTo>
                  <a:pt x="20005" y="18817"/>
                  <a:pt x="19979" y="18829"/>
                  <a:pt x="19959" y="18849"/>
                </a:cubicBezTo>
                <a:lnTo>
                  <a:pt x="14014" y="7831"/>
                </a:lnTo>
                <a:cubicBezTo>
                  <a:pt x="14022" y="7819"/>
                  <a:pt x="14031" y="7807"/>
                  <a:pt x="14037" y="7791"/>
                </a:cubicBezTo>
                <a:lnTo>
                  <a:pt x="21343" y="12427"/>
                </a:lnTo>
                <a:cubicBezTo>
                  <a:pt x="21337" y="12447"/>
                  <a:pt x="21335" y="12463"/>
                  <a:pt x="21335" y="12483"/>
                </a:cubicBezTo>
                <a:cubicBezTo>
                  <a:pt x="21335" y="12559"/>
                  <a:pt x="21369" y="12627"/>
                  <a:pt x="21414" y="12655"/>
                </a:cubicBezTo>
                <a:lnTo>
                  <a:pt x="20093" y="18837"/>
                </a:lnTo>
                <a:close/>
              </a:path>
            </a:pathLst>
          </a:custGeom>
          <a:solidFill>
            <a:srgbClr val="C6DFE7">
              <a:alpha val="45000"/>
            </a:srgbClr>
          </a:solidFill>
          <a:ln w="12700">
            <a:miter lim="400000"/>
          </a:ln>
        </p:spPr>
        <p:txBody>
          <a:bodyPr lIns="38100" tIns="38100" rIns="38100" bIns="38100" anchor="ctr"/>
          <a:lstStyle/>
          <a:p>
            <a:pPr>
              <a:defRPr sz="3000">
                <a:solidFill>
                  <a:srgbClr val="FFFFFF"/>
                </a:solidFill>
              </a:defRPr>
            </a:pPr>
            <a:endParaRPr/>
          </a:p>
        </p:txBody>
      </p:sp>
      <p:sp>
        <p:nvSpPr>
          <p:cNvPr id="3" name="Title 2"/>
          <p:cNvSpPr>
            <a:spLocks noGrp="1"/>
          </p:cNvSpPr>
          <p:nvPr>
            <p:ph type="title"/>
          </p:nvPr>
        </p:nvSpPr>
        <p:spPr>
          <a:xfrm>
            <a:off x="381000" y="3382741"/>
            <a:ext cx="7620000" cy="884459"/>
          </a:xfrm>
          <a:prstGeom prst="rect">
            <a:avLst/>
          </a:prstGeom>
        </p:spPr>
        <p:txBody>
          <a:bodyPr vert="horz">
            <a:noAutofit/>
          </a:bodyPr>
          <a:lstStyle>
            <a:lvl1pPr>
              <a:defRPr sz="3600">
                <a:solidFill>
                  <a:schemeClr val="bg1"/>
                </a:solidFill>
                <a:latin typeface="VWAG TheSans" panose="020B0502050302020203" pitchFamily="34" charset="0"/>
              </a:defRPr>
            </a:lvl1pPr>
          </a:lstStyle>
          <a:p>
            <a:r>
              <a:rPr lang="en-US"/>
              <a:t>Click to edit Master title style</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04800" y="381000"/>
            <a:ext cx="3320148" cy="304800"/>
          </a:xfrm>
          <a:prstGeom prst="rect">
            <a:avLst/>
          </a:prstGeom>
        </p:spPr>
      </p:pic>
      <p:sp>
        <p:nvSpPr>
          <p:cNvPr id="8" name="Text Placeholder 8"/>
          <p:cNvSpPr>
            <a:spLocks noGrp="1"/>
          </p:cNvSpPr>
          <p:nvPr>
            <p:ph type="body" sz="quarter" idx="10" hasCustomPrompt="1"/>
          </p:nvPr>
        </p:nvSpPr>
        <p:spPr>
          <a:xfrm>
            <a:off x="381000" y="4495800"/>
            <a:ext cx="5531585" cy="526149"/>
          </a:xfrm>
          <a:prstGeom prst="rect">
            <a:avLst/>
          </a:prstGeom>
        </p:spPr>
        <p:txBody>
          <a:bodyPr vert="horz" lIns="0" tIns="45720" rIns="91440" bIns="45720" rtlCol="0" anchor="ctr">
            <a:noAutofit/>
          </a:bodyPr>
          <a:lstStyle>
            <a:lvl1pPr>
              <a:defRPr lang="en-US" sz="24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text</a:t>
            </a:r>
          </a:p>
        </p:txBody>
      </p:sp>
      <p:sp>
        <p:nvSpPr>
          <p:cNvPr id="9" name="Text Placeholder 8"/>
          <p:cNvSpPr>
            <a:spLocks noGrp="1"/>
          </p:cNvSpPr>
          <p:nvPr>
            <p:ph type="body" sz="quarter" idx="11" hasCustomPrompt="1"/>
          </p:nvPr>
        </p:nvSpPr>
        <p:spPr>
          <a:xfrm>
            <a:off x="381000" y="6179451"/>
            <a:ext cx="5531585" cy="373749"/>
          </a:xfrm>
          <a:prstGeom prst="rect">
            <a:avLst/>
          </a:prstGeom>
        </p:spPr>
        <p:txBody>
          <a:bodyPr vert="horz" lIns="0" tIns="45720" rIns="91440" bIns="45720" rtlCol="0" anchor="ctr">
            <a:noAutofit/>
          </a:bodyPr>
          <a:lstStyle>
            <a:lvl1pPr>
              <a:defRPr lang="en-US" sz="14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date</a:t>
            </a:r>
          </a:p>
        </p:txBody>
      </p:sp>
      <p:sp>
        <p:nvSpPr>
          <p:cNvPr id="11" name="Text Placeholder 8"/>
          <p:cNvSpPr>
            <a:spLocks noGrp="1"/>
          </p:cNvSpPr>
          <p:nvPr>
            <p:ph type="body" sz="quarter" idx="12" hasCustomPrompt="1"/>
          </p:nvPr>
        </p:nvSpPr>
        <p:spPr>
          <a:xfrm>
            <a:off x="381000" y="5359160"/>
            <a:ext cx="5531585" cy="355840"/>
          </a:xfrm>
          <a:prstGeom prst="rect">
            <a:avLst/>
          </a:prstGeom>
        </p:spPr>
        <p:txBody>
          <a:bodyPr vert="horz" lIns="0" tIns="45720" rIns="91440" bIns="45720" rtlCol="0" anchor="ctr">
            <a:noAutofit/>
          </a:bodyPr>
          <a:lstStyle>
            <a:lvl1pPr>
              <a:defRPr lang="en-US" sz="1800" b="1" baseline="0" dirty="0">
                <a:solidFill>
                  <a:schemeClr val="bg1"/>
                </a:solidFill>
                <a:latin typeface="VWAG TheSans" panose="020B0502050302020203" pitchFamily="34" charset="0"/>
                <a:ea typeface="+mj-ea"/>
                <a:cs typeface="+mj-cs"/>
                <a:sym typeface="VWAG TheSans" panose="020B0502050302020203" pitchFamily="34" charset="0"/>
              </a:defRPr>
            </a:lvl1pPr>
          </a:lstStyle>
          <a:p>
            <a:pPr lvl="0">
              <a:spcAft>
                <a:spcPct val="0"/>
              </a:spcAft>
            </a:pPr>
            <a:r>
              <a:rPr lang="en-US"/>
              <a:t>Click to edit presenter name</a:t>
            </a:r>
          </a:p>
        </p:txBody>
      </p:sp>
    </p:spTree>
    <p:extLst>
      <p:ext uri="{BB962C8B-B14F-4D97-AF65-F5344CB8AC3E}">
        <p14:creationId xmlns:p14="http://schemas.microsoft.com/office/powerpoint/2010/main" val="1667916911"/>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240">
          <p15:clr>
            <a:srgbClr val="FBAE40"/>
          </p15:clr>
        </p15:guide>
        <p15:guide id="4" pos="7536">
          <p15:clr>
            <a:srgbClr val="FBAE40"/>
          </p15:clr>
        </p15:guide>
        <p15:guide id="5" orient="horz" pos="2160">
          <p15:clr>
            <a:srgbClr val="FBAE40"/>
          </p15:clr>
        </p15:guide>
        <p15:guide id="6" pos="3840">
          <p15:clr>
            <a:srgbClr val="FBAE40"/>
          </p15:clr>
        </p15:guide>
        <p15:guide id="7" orient="horz" pos="52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Empty_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867525"/>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398000" y="228600"/>
            <a:ext cx="2794000" cy="256498"/>
          </a:xfrm>
          <a:prstGeom prst="rect">
            <a:avLst/>
          </a:prstGeom>
        </p:spPr>
      </p:pic>
    </p:spTree>
    <p:extLst>
      <p:ext uri="{BB962C8B-B14F-4D97-AF65-F5344CB8AC3E}">
        <p14:creationId xmlns:p14="http://schemas.microsoft.com/office/powerpoint/2010/main" val="1877357329"/>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Heading_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400800"/>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8" name="Title 27"/>
          <p:cNvSpPr>
            <a:spLocks noGrp="1"/>
          </p:cNvSpPr>
          <p:nvPr>
            <p:ph type="title"/>
          </p:nvPr>
        </p:nvSpPr>
        <p:spPr>
          <a:xfrm>
            <a:off x="4572000" y="4558853"/>
            <a:ext cx="7239000" cy="619125"/>
          </a:xfrm>
        </p:spPr>
        <p:txBody>
          <a:bodyPr vert="horz">
            <a:noAutofit/>
          </a:bodyPr>
          <a:lstStyle>
            <a:lvl1pPr algn="r">
              <a:defRPr sz="2400">
                <a:solidFill>
                  <a:schemeClr val="bg1"/>
                </a:solidFill>
              </a:defRPr>
            </a:lvl1pPr>
          </a:lstStyle>
          <a:p>
            <a:r>
              <a:rPr lang="en-US"/>
              <a:t>Click to edit Master title style</a:t>
            </a:r>
          </a:p>
        </p:txBody>
      </p:sp>
      <p:sp>
        <p:nvSpPr>
          <p:cNvPr id="6" name="Shape">
            <a:extLst>
              <a:ext uri="{FF2B5EF4-FFF2-40B4-BE49-F238E27FC236}">
                <a16:creationId xmlns:a16="http://schemas.microsoft.com/office/drawing/2014/main" id="{5E674812-0E69-C74D-9C92-612EC5A8FB02}"/>
              </a:ext>
            </a:extLst>
          </p:cNvPr>
          <p:cNvSpPr/>
          <p:nvPr userDrawn="1"/>
        </p:nvSpPr>
        <p:spPr>
          <a:xfrm flipH="1">
            <a:off x="76200" y="1"/>
            <a:ext cx="9372600" cy="6324599"/>
          </a:xfrm>
          <a:custGeom>
            <a:avLst/>
            <a:gdLst/>
            <a:ahLst/>
            <a:cxnLst>
              <a:cxn ang="0">
                <a:pos x="wd2" y="hd2"/>
              </a:cxn>
              <a:cxn ang="5400000">
                <a:pos x="wd2" y="hd2"/>
              </a:cxn>
              <a:cxn ang="10800000">
                <a:pos x="wd2" y="hd2"/>
              </a:cxn>
              <a:cxn ang="16200000">
                <a:pos x="wd2" y="hd2"/>
              </a:cxn>
            </a:cxnLst>
            <a:rect l="0" t="0" r="r" b="b"/>
            <a:pathLst>
              <a:path w="21600" h="21600" extrusionOk="0">
                <a:moveTo>
                  <a:pt x="21469" y="12299"/>
                </a:moveTo>
                <a:cubicBezTo>
                  <a:pt x="21446" y="12299"/>
                  <a:pt x="21426" y="12307"/>
                  <a:pt x="21409" y="12319"/>
                </a:cubicBezTo>
                <a:lnTo>
                  <a:pt x="18546" y="6210"/>
                </a:lnTo>
                <a:cubicBezTo>
                  <a:pt x="18575" y="6174"/>
                  <a:pt x="18595" y="6126"/>
                  <a:pt x="18595" y="6066"/>
                </a:cubicBezTo>
                <a:cubicBezTo>
                  <a:pt x="18595" y="5978"/>
                  <a:pt x="18552" y="5910"/>
                  <a:pt x="18495" y="5886"/>
                </a:cubicBezTo>
                <a:lnTo>
                  <a:pt x="19125" y="72"/>
                </a:lnTo>
                <a:lnTo>
                  <a:pt x="19111" y="68"/>
                </a:lnTo>
                <a:lnTo>
                  <a:pt x="19100" y="56"/>
                </a:lnTo>
                <a:lnTo>
                  <a:pt x="14005" y="7547"/>
                </a:lnTo>
                <a:cubicBezTo>
                  <a:pt x="13985" y="7527"/>
                  <a:pt x="13962" y="7511"/>
                  <a:pt x="13937" y="7511"/>
                </a:cubicBezTo>
                <a:lnTo>
                  <a:pt x="13791" y="40"/>
                </a:lnTo>
                <a:lnTo>
                  <a:pt x="13791" y="0"/>
                </a:lnTo>
                <a:lnTo>
                  <a:pt x="9313" y="4680"/>
                </a:lnTo>
                <a:cubicBezTo>
                  <a:pt x="9290" y="4644"/>
                  <a:pt x="9256" y="4620"/>
                  <a:pt x="9216" y="4620"/>
                </a:cubicBezTo>
                <a:cubicBezTo>
                  <a:pt x="9196" y="4620"/>
                  <a:pt x="9176" y="4628"/>
                  <a:pt x="9159" y="4640"/>
                </a:cubicBezTo>
                <a:lnTo>
                  <a:pt x="7135" y="32"/>
                </a:lnTo>
                <a:lnTo>
                  <a:pt x="7110" y="52"/>
                </a:lnTo>
                <a:lnTo>
                  <a:pt x="9136" y="4660"/>
                </a:lnTo>
                <a:cubicBezTo>
                  <a:pt x="9105" y="4692"/>
                  <a:pt x="9085" y="4748"/>
                  <a:pt x="9085" y="4808"/>
                </a:cubicBezTo>
                <a:cubicBezTo>
                  <a:pt x="9085" y="4816"/>
                  <a:pt x="9085" y="4824"/>
                  <a:pt x="9088" y="4832"/>
                </a:cubicBezTo>
                <a:lnTo>
                  <a:pt x="4995" y="6246"/>
                </a:lnTo>
                <a:cubicBezTo>
                  <a:pt x="4992" y="6150"/>
                  <a:pt x="4935" y="6070"/>
                  <a:pt x="4866" y="6070"/>
                </a:cubicBezTo>
                <a:lnTo>
                  <a:pt x="4504" y="36"/>
                </a:lnTo>
                <a:lnTo>
                  <a:pt x="4475" y="40"/>
                </a:lnTo>
                <a:lnTo>
                  <a:pt x="4838" y="6074"/>
                </a:lnTo>
                <a:cubicBezTo>
                  <a:pt x="4778" y="6090"/>
                  <a:pt x="4729" y="6166"/>
                  <a:pt x="4729" y="6258"/>
                </a:cubicBezTo>
                <a:cubicBezTo>
                  <a:pt x="4729" y="6282"/>
                  <a:pt x="4732" y="6305"/>
                  <a:pt x="4741" y="6329"/>
                </a:cubicBezTo>
                <a:lnTo>
                  <a:pt x="2440" y="6956"/>
                </a:lnTo>
                <a:cubicBezTo>
                  <a:pt x="2429" y="6904"/>
                  <a:pt x="2403" y="6865"/>
                  <a:pt x="2369" y="6841"/>
                </a:cubicBezTo>
                <a:lnTo>
                  <a:pt x="3919" y="40"/>
                </a:lnTo>
                <a:lnTo>
                  <a:pt x="3890" y="28"/>
                </a:lnTo>
                <a:lnTo>
                  <a:pt x="2340" y="6829"/>
                </a:lnTo>
                <a:cubicBezTo>
                  <a:pt x="2332" y="6825"/>
                  <a:pt x="2323" y="6825"/>
                  <a:pt x="2315" y="6825"/>
                </a:cubicBezTo>
                <a:cubicBezTo>
                  <a:pt x="2300" y="6825"/>
                  <a:pt x="2286" y="6829"/>
                  <a:pt x="2272" y="6837"/>
                </a:cubicBezTo>
                <a:lnTo>
                  <a:pt x="26" y="16"/>
                </a:lnTo>
                <a:lnTo>
                  <a:pt x="0" y="32"/>
                </a:lnTo>
                <a:lnTo>
                  <a:pt x="2246" y="6853"/>
                </a:lnTo>
                <a:cubicBezTo>
                  <a:pt x="2206" y="6885"/>
                  <a:pt x="2181" y="6944"/>
                  <a:pt x="2181" y="7012"/>
                </a:cubicBezTo>
                <a:cubicBezTo>
                  <a:pt x="2181" y="7116"/>
                  <a:pt x="2240" y="7196"/>
                  <a:pt x="2312" y="7196"/>
                </a:cubicBezTo>
                <a:cubicBezTo>
                  <a:pt x="2383" y="7196"/>
                  <a:pt x="2443" y="7112"/>
                  <a:pt x="2443" y="7012"/>
                </a:cubicBezTo>
                <a:cubicBezTo>
                  <a:pt x="2443" y="7008"/>
                  <a:pt x="2443" y="7000"/>
                  <a:pt x="2443" y="6996"/>
                </a:cubicBezTo>
                <a:lnTo>
                  <a:pt x="4752" y="6361"/>
                </a:lnTo>
                <a:cubicBezTo>
                  <a:pt x="4775" y="6409"/>
                  <a:pt x="4815" y="6437"/>
                  <a:pt x="4861" y="6437"/>
                </a:cubicBezTo>
                <a:cubicBezTo>
                  <a:pt x="4872" y="6437"/>
                  <a:pt x="4883" y="6433"/>
                  <a:pt x="4892" y="6429"/>
                </a:cubicBezTo>
                <a:lnTo>
                  <a:pt x="7178" y="12655"/>
                </a:lnTo>
                <a:cubicBezTo>
                  <a:pt x="7144" y="12687"/>
                  <a:pt x="7124" y="12743"/>
                  <a:pt x="7124" y="12803"/>
                </a:cubicBezTo>
                <a:cubicBezTo>
                  <a:pt x="7124" y="12906"/>
                  <a:pt x="7184" y="12986"/>
                  <a:pt x="7255" y="12986"/>
                </a:cubicBezTo>
                <a:cubicBezTo>
                  <a:pt x="7329" y="12986"/>
                  <a:pt x="7386" y="12902"/>
                  <a:pt x="7386" y="12803"/>
                </a:cubicBezTo>
                <a:lnTo>
                  <a:pt x="11003" y="12311"/>
                </a:lnTo>
                <a:cubicBezTo>
                  <a:pt x="11008" y="12403"/>
                  <a:pt x="11065" y="12479"/>
                  <a:pt x="11134" y="12479"/>
                </a:cubicBezTo>
                <a:cubicBezTo>
                  <a:pt x="11145" y="12479"/>
                  <a:pt x="11157" y="12475"/>
                  <a:pt x="11165" y="12475"/>
                </a:cubicBezTo>
                <a:lnTo>
                  <a:pt x="13303" y="21588"/>
                </a:lnTo>
                <a:lnTo>
                  <a:pt x="13332" y="21576"/>
                </a:lnTo>
                <a:lnTo>
                  <a:pt x="11197" y="12463"/>
                </a:lnTo>
                <a:cubicBezTo>
                  <a:pt x="11220" y="12447"/>
                  <a:pt x="11240" y="12419"/>
                  <a:pt x="11254" y="12387"/>
                </a:cubicBezTo>
                <a:lnTo>
                  <a:pt x="19908" y="18944"/>
                </a:lnTo>
                <a:cubicBezTo>
                  <a:pt x="19905" y="18960"/>
                  <a:pt x="19902" y="18980"/>
                  <a:pt x="19902" y="19000"/>
                </a:cubicBezTo>
                <a:cubicBezTo>
                  <a:pt x="19902" y="19032"/>
                  <a:pt x="19908" y="19060"/>
                  <a:pt x="19919" y="19088"/>
                </a:cubicBezTo>
                <a:lnTo>
                  <a:pt x="16742" y="21564"/>
                </a:lnTo>
                <a:lnTo>
                  <a:pt x="16757" y="21600"/>
                </a:lnTo>
                <a:lnTo>
                  <a:pt x="19933" y="19120"/>
                </a:lnTo>
                <a:cubicBezTo>
                  <a:pt x="19942" y="19132"/>
                  <a:pt x="19950" y="19144"/>
                  <a:pt x="19959" y="19156"/>
                </a:cubicBezTo>
                <a:lnTo>
                  <a:pt x="18931" y="21572"/>
                </a:lnTo>
                <a:lnTo>
                  <a:pt x="18957" y="21592"/>
                </a:lnTo>
                <a:lnTo>
                  <a:pt x="19985" y="19172"/>
                </a:lnTo>
                <a:cubicBezTo>
                  <a:pt x="19999" y="19180"/>
                  <a:pt x="20016" y="19184"/>
                  <a:pt x="20033" y="19184"/>
                </a:cubicBezTo>
                <a:lnTo>
                  <a:pt x="20033" y="19184"/>
                </a:lnTo>
                <a:lnTo>
                  <a:pt x="20047" y="19188"/>
                </a:lnTo>
                <a:lnTo>
                  <a:pt x="20050" y="19180"/>
                </a:lnTo>
                <a:cubicBezTo>
                  <a:pt x="20116" y="19168"/>
                  <a:pt x="20167" y="19092"/>
                  <a:pt x="20167" y="18996"/>
                </a:cubicBezTo>
                <a:cubicBezTo>
                  <a:pt x="20167" y="18940"/>
                  <a:pt x="20147" y="18889"/>
                  <a:pt x="20119" y="18857"/>
                </a:cubicBezTo>
                <a:lnTo>
                  <a:pt x="21446" y="12663"/>
                </a:lnTo>
                <a:cubicBezTo>
                  <a:pt x="21454" y="12667"/>
                  <a:pt x="21463" y="12667"/>
                  <a:pt x="21469" y="12667"/>
                </a:cubicBezTo>
                <a:cubicBezTo>
                  <a:pt x="21543" y="12667"/>
                  <a:pt x="21600" y="12583"/>
                  <a:pt x="21600" y="12483"/>
                </a:cubicBezTo>
                <a:cubicBezTo>
                  <a:pt x="21600" y="12383"/>
                  <a:pt x="21540" y="12299"/>
                  <a:pt x="21469" y="12299"/>
                </a:cubicBezTo>
                <a:close/>
                <a:moveTo>
                  <a:pt x="21383" y="12339"/>
                </a:moveTo>
                <a:cubicBezTo>
                  <a:pt x="21372" y="12351"/>
                  <a:pt x="21360" y="12367"/>
                  <a:pt x="21355" y="12387"/>
                </a:cubicBezTo>
                <a:lnTo>
                  <a:pt x="14048" y="7751"/>
                </a:lnTo>
                <a:cubicBezTo>
                  <a:pt x="14054" y="7731"/>
                  <a:pt x="14057" y="7715"/>
                  <a:pt x="14057" y="7695"/>
                </a:cubicBezTo>
                <a:cubicBezTo>
                  <a:pt x="14057" y="7687"/>
                  <a:pt x="14057" y="7679"/>
                  <a:pt x="14054" y="7667"/>
                </a:cubicBezTo>
                <a:lnTo>
                  <a:pt x="18338" y="6130"/>
                </a:lnTo>
                <a:cubicBezTo>
                  <a:pt x="18358" y="6202"/>
                  <a:pt x="18403" y="6250"/>
                  <a:pt x="18460" y="6250"/>
                </a:cubicBezTo>
                <a:cubicBezTo>
                  <a:pt x="18483" y="6250"/>
                  <a:pt x="18503" y="6242"/>
                  <a:pt x="18520" y="6230"/>
                </a:cubicBezTo>
                <a:lnTo>
                  <a:pt x="21383" y="12339"/>
                </a:lnTo>
                <a:close/>
                <a:moveTo>
                  <a:pt x="11137" y="12112"/>
                </a:moveTo>
                <a:cubicBezTo>
                  <a:pt x="11068" y="12112"/>
                  <a:pt x="11014" y="12184"/>
                  <a:pt x="11005" y="12276"/>
                </a:cubicBezTo>
                <a:lnTo>
                  <a:pt x="7386" y="12767"/>
                </a:lnTo>
                <a:cubicBezTo>
                  <a:pt x="7378" y="12707"/>
                  <a:pt x="7347" y="12655"/>
                  <a:pt x="7307" y="12635"/>
                </a:cubicBezTo>
                <a:lnTo>
                  <a:pt x="9187" y="4988"/>
                </a:lnTo>
                <a:cubicBezTo>
                  <a:pt x="9196" y="4992"/>
                  <a:pt x="9207" y="4992"/>
                  <a:pt x="9216" y="4992"/>
                </a:cubicBezTo>
                <a:cubicBezTo>
                  <a:pt x="9264" y="4992"/>
                  <a:pt x="9307" y="4956"/>
                  <a:pt x="9330" y="4900"/>
                </a:cubicBezTo>
                <a:lnTo>
                  <a:pt x="13797" y="7639"/>
                </a:lnTo>
                <a:cubicBezTo>
                  <a:pt x="13794" y="7655"/>
                  <a:pt x="13791" y="7675"/>
                  <a:pt x="13791" y="7695"/>
                </a:cubicBezTo>
                <a:cubicBezTo>
                  <a:pt x="13791" y="7743"/>
                  <a:pt x="13805" y="7791"/>
                  <a:pt x="13828" y="7823"/>
                </a:cubicBezTo>
                <a:lnTo>
                  <a:pt x="11205" y="12140"/>
                </a:lnTo>
                <a:cubicBezTo>
                  <a:pt x="11182" y="12124"/>
                  <a:pt x="11162" y="12112"/>
                  <a:pt x="11137" y="12112"/>
                </a:cubicBezTo>
                <a:close/>
                <a:moveTo>
                  <a:pt x="18460" y="5878"/>
                </a:moveTo>
                <a:cubicBezTo>
                  <a:pt x="18386" y="5878"/>
                  <a:pt x="18329" y="5962"/>
                  <a:pt x="18329" y="6062"/>
                </a:cubicBezTo>
                <a:cubicBezTo>
                  <a:pt x="18329" y="6070"/>
                  <a:pt x="18329" y="6078"/>
                  <a:pt x="18332" y="6090"/>
                </a:cubicBezTo>
                <a:lnTo>
                  <a:pt x="14048" y="7627"/>
                </a:lnTo>
                <a:cubicBezTo>
                  <a:pt x="14042" y="7607"/>
                  <a:pt x="14034" y="7587"/>
                  <a:pt x="14025" y="7571"/>
                </a:cubicBezTo>
                <a:lnTo>
                  <a:pt x="19091" y="128"/>
                </a:lnTo>
                <a:lnTo>
                  <a:pt x="18466" y="5878"/>
                </a:lnTo>
                <a:cubicBezTo>
                  <a:pt x="18466" y="5878"/>
                  <a:pt x="18463" y="5878"/>
                  <a:pt x="18460" y="5878"/>
                </a:cubicBezTo>
                <a:close/>
                <a:moveTo>
                  <a:pt x="13763" y="80"/>
                </a:moveTo>
                <a:lnTo>
                  <a:pt x="13905" y="7511"/>
                </a:lnTo>
                <a:cubicBezTo>
                  <a:pt x="13862" y="7519"/>
                  <a:pt x="13828" y="7555"/>
                  <a:pt x="13808" y="7603"/>
                </a:cubicBezTo>
                <a:lnTo>
                  <a:pt x="9342" y="4864"/>
                </a:lnTo>
                <a:cubicBezTo>
                  <a:pt x="9344" y="4848"/>
                  <a:pt x="9347" y="4828"/>
                  <a:pt x="9347" y="4808"/>
                </a:cubicBezTo>
                <a:cubicBezTo>
                  <a:pt x="9347" y="4772"/>
                  <a:pt x="9339" y="4740"/>
                  <a:pt x="9327" y="4712"/>
                </a:cubicBezTo>
                <a:lnTo>
                  <a:pt x="13763" y="80"/>
                </a:lnTo>
                <a:close/>
                <a:moveTo>
                  <a:pt x="4921" y="6413"/>
                </a:moveTo>
                <a:cubicBezTo>
                  <a:pt x="4958" y="6389"/>
                  <a:pt x="4983" y="6341"/>
                  <a:pt x="4992" y="6282"/>
                </a:cubicBezTo>
                <a:lnTo>
                  <a:pt x="9093" y="4868"/>
                </a:lnTo>
                <a:cubicBezTo>
                  <a:pt x="9105" y="4916"/>
                  <a:pt x="9130" y="4952"/>
                  <a:pt x="9162" y="4972"/>
                </a:cubicBezTo>
                <a:lnTo>
                  <a:pt x="7281" y="12623"/>
                </a:lnTo>
                <a:cubicBezTo>
                  <a:pt x="7272" y="12623"/>
                  <a:pt x="7267" y="12619"/>
                  <a:pt x="7258" y="12619"/>
                </a:cubicBezTo>
                <a:cubicBezTo>
                  <a:pt x="7238" y="12619"/>
                  <a:pt x="7221" y="12623"/>
                  <a:pt x="7204" y="12635"/>
                </a:cubicBezTo>
                <a:lnTo>
                  <a:pt x="4921" y="6413"/>
                </a:lnTo>
                <a:close/>
                <a:moveTo>
                  <a:pt x="11262" y="12351"/>
                </a:moveTo>
                <a:cubicBezTo>
                  <a:pt x="11265" y="12335"/>
                  <a:pt x="11268" y="12315"/>
                  <a:pt x="11268" y="12299"/>
                </a:cubicBezTo>
                <a:cubicBezTo>
                  <a:pt x="11268" y="12244"/>
                  <a:pt x="11251" y="12196"/>
                  <a:pt x="11225" y="12164"/>
                </a:cubicBezTo>
                <a:lnTo>
                  <a:pt x="13848" y="7851"/>
                </a:lnTo>
                <a:cubicBezTo>
                  <a:pt x="13868" y="7871"/>
                  <a:pt x="13894" y="7883"/>
                  <a:pt x="13922" y="7883"/>
                </a:cubicBezTo>
                <a:cubicBezTo>
                  <a:pt x="13948" y="7883"/>
                  <a:pt x="13971" y="7871"/>
                  <a:pt x="13991" y="7855"/>
                </a:cubicBezTo>
                <a:lnTo>
                  <a:pt x="19936" y="18877"/>
                </a:lnTo>
                <a:cubicBezTo>
                  <a:pt x="19927" y="18889"/>
                  <a:pt x="19922" y="18900"/>
                  <a:pt x="19919" y="18912"/>
                </a:cubicBezTo>
                <a:lnTo>
                  <a:pt x="11262" y="12351"/>
                </a:lnTo>
                <a:close/>
                <a:moveTo>
                  <a:pt x="20093" y="18837"/>
                </a:moveTo>
                <a:cubicBezTo>
                  <a:pt x="20076" y="18825"/>
                  <a:pt x="20056" y="18817"/>
                  <a:pt x="20033" y="18817"/>
                </a:cubicBezTo>
                <a:cubicBezTo>
                  <a:pt x="20005" y="18817"/>
                  <a:pt x="19979" y="18829"/>
                  <a:pt x="19959" y="18849"/>
                </a:cubicBezTo>
                <a:lnTo>
                  <a:pt x="14014" y="7831"/>
                </a:lnTo>
                <a:cubicBezTo>
                  <a:pt x="14022" y="7819"/>
                  <a:pt x="14031" y="7807"/>
                  <a:pt x="14037" y="7791"/>
                </a:cubicBezTo>
                <a:lnTo>
                  <a:pt x="21343" y="12427"/>
                </a:lnTo>
                <a:cubicBezTo>
                  <a:pt x="21337" y="12447"/>
                  <a:pt x="21335" y="12463"/>
                  <a:pt x="21335" y="12483"/>
                </a:cubicBezTo>
                <a:cubicBezTo>
                  <a:pt x="21335" y="12559"/>
                  <a:pt x="21369" y="12627"/>
                  <a:pt x="21414" y="12655"/>
                </a:cubicBezTo>
                <a:lnTo>
                  <a:pt x="20093" y="18837"/>
                </a:lnTo>
                <a:close/>
              </a:path>
            </a:pathLst>
          </a:custGeom>
          <a:solidFill>
            <a:srgbClr val="C6DFE7">
              <a:alpha val="45000"/>
            </a:srgbClr>
          </a:solidFill>
          <a:ln w="12700">
            <a:miter lim="400000"/>
          </a:ln>
        </p:spPr>
        <p:txBody>
          <a:bodyPr lIns="38100" tIns="38100" rIns="38100" bIns="38100" anchor="ctr"/>
          <a:lstStyle/>
          <a:p>
            <a:pPr>
              <a:defRPr sz="3000">
                <a:solidFill>
                  <a:srgbClr val="FFFFFF"/>
                </a:solidFill>
              </a:defRPr>
            </a:pPr>
            <a:endParaRPr/>
          </a:p>
        </p:txBody>
      </p:sp>
    </p:spTree>
    <p:extLst>
      <p:ext uri="{BB962C8B-B14F-4D97-AF65-F5344CB8AC3E}">
        <p14:creationId xmlns:p14="http://schemas.microsoft.com/office/powerpoint/2010/main" val="2736498736"/>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eading_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40079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8" name="Title 27"/>
          <p:cNvSpPr>
            <a:spLocks noGrp="1"/>
          </p:cNvSpPr>
          <p:nvPr>
            <p:ph type="title"/>
          </p:nvPr>
        </p:nvSpPr>
        <p:spPr>
          <a:xfrm>
            <a:off x="4572000" y="4558853"/>
            <a:ext cx="7239000" cy="619125"/>
          </a:xfrm>
        </p:spPr>
        <p:txBody>
          <a:bodyPr vert="horz">
            <a:noAutofit/>
          </a:bodyPr>
          <a:lstStyle>
            <a:lvl1pPr algn="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1464882363"/>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eading_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g object 16"/>
          <p:cNvSpPr/>
          <p:nvPr userDrawn="1"/>
        </p:nvSpPr>
        <p:spPr>
          <a:xfrm>
            <a:off x="0" y="0"/>
            <a:ext cx="12192000" cy="640079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13" name="Freeform 12"/>
          <p:cNvSpPr>
            <a:spLocks noChangeAspect="1"/>
          </p:cNvSpPr>
          <p:nvPr userDrawn="1"/>
        </p:nvSpPr>
        <p:spPr>
          <a:xfrm rot="18900000" flipH="1">
            <a:off x="-1466470" y="1450443"/>
            <a:ext cx="6124057" cy="4423596"/>
          </a:xfrm>
          <a:custGeom>
            <a:avLst/>
            <a:gdLst>
              <a:gd name="connsiteX0" fmla="*/ 5068708 w 6124057"/>
              <a:gd name="connsiteY0" fmla="*/ 1941767 h 4423596"/>
              <a:gd name="connsiteX1" fmla="*/ 5054948 w 6124057"/>
              <a:gd name="connsiteY1" fmla="*/ 2018209 h 4423596"/>
              <a:gd name="connsiteX2" fmla="*/ 5097293 w 6124057"/>
              <a:gd name="connsiteY2" fmla="*/ 4023880 h 4423596"/>
              <a:gd name="connsiteX3" fmla="*/ 6124057 w 6124057"/>
              <a:gd name="connsiteY3" fmla="*/ 2997116 h 4423596"/>
              <a:gd name="connsiteX4" fmla="*/ 3845217 w 6124057"/>
              <a:gd name="connsiteY4" fmla="*/ 3007004 h 4423596"/>
              <a:gd name="connsiteX5" fmla="*/ 3790158 w 6124057"/>
              <a:gd name="connsiteY5" fmla="*/ 3148293 h 4423596"/>
              <a:gd name="connsiteX6" fmla="*/ 3806886 w 6124057"/>
              <a:gd name="connsiteY6" fmla="*/ 3940588 h 4423596"/>
              <a:gd name="connsiteX7" fmla="*/ 4009148 w 6124057"/>
              <a:gd name="connsiteY7" fmla="*/ 4134486 h 4423596"/>
              <a:gd name="connsiteX8" fmla="*/ 4801443 w 6124057"/>
              <a:gd name="connsiteY8" fmla="*/ 4117758 h 4423596"/>
              <a:gd name="connsiteX9" fmla="*/ 4995341 w 6124057"/>
              <a:gd name="connsiteY9" fmla="*/ 3915497 h 4423596"/>
              <a:gd name="connsiteX10" fmla="*/ 4978613 w 6124057"/>
              <a:gd name="connsiteY10" fmla="*/ 3123201 h 4423596"/>
              <a:gd name="connsiteX11" fmla="*/ 4776352 w 6124057"/>
              <a:gd name="connsiteY11" fmla="*/ 2929303 h 4423596"/>
              <a:gd name="connsiteX12" fmla="*/ 3984056 w 6124057"/>
              <a:gd name="connsiteY12" fmla="*/ 2946031 h 4423596"/>
              <a:gd name="connsiteX13" fmla="*/ 3845217 w 6124057"/>
              <a:gd name="connsiteY13" fmla="*/ 3007004 h 4423596"/>
              <a:gd name="connsiteX14" fmla="*/ 2252395 w 6124057"/>
              <a:gd name="connsiteY14" fmla="*/ 3011078 h 4423596"/>
              <a:gd name="connsiteX15" fmla="*/ 2171921 w 6124057"/>
              <a:gd name="connsiteY15" fmla="*/ 3205359 h 4423596"/>
              <a:gd name="connsiteX16" fmla="*/ 2171921 w 6124057"/>
              <a:gd name="connsiteY16" fmla="*/ 4148841 h 4423596"/>
              <a:gd name="connsiteX17" fmla="*/ 2446677 w 6124057"/>
              <a:gd name="connsiteY17" fmla="*/ 4423596 h 4423596"/>
              <a:gd name="connsiteX18" fmla="*/ 3390157 w 6124057"/>
              <a:gd name="connsiteY18" fmla="*/ 4423596 h 4423596"/>
              <a:gd name="connsiteX19" fmla="*/ 3664913 w 6124057"/>
              <a:gd name="connsiteY19" fmla="*/ 4148841 h 4423596"/>
              <a:gd name="connsiteX20" fmla="*/ 3664913 w 6124057"/>
              <a:gd name="connsiteY20" fmla="*/ 3205359 h 4423596"/>
              <a:gd name="connsiteX21" fmla="*/ 3390157 w 6124057"/>
              <a:gd name="connsiteY21" fmla="*/ 2930604 h 4423596"/>
              <a:gd name="connsiteX22" fmla="*/ 2446676 w 6124057"/>
              <a:gd name="connsiteY22" fmla="*/ 2930604 h 4423596"/>
              <a:gd name="connsiteX23" fmla="*/ 2252395 w 6124057"/>
              <a:gd name="connsiteY23" fmla="*/ 3011078 h 4423596"/>
              <a:gd name="connsiteX24" fmla="*/ 674210 w 6124057"/>
              <a:gd name="connsiteY24" fmla="*/ 2559172 h 4423596"/>
              <a:gd name="connsiteX25" fmla="*/ 593735 w 6124057"/>
              <a:gd name="connsiteY25" fmla="*/ 2753453 h 4423596"/>
              <a:gd name="connsiteX26" fmla="*/ 593735 w 6124057"/>
              <a:gd name="connsiteY26" fmla="*/ 3696934 h 4423596"/>
              <a:gd name="connsiteX27" fmla="*/ 868491 w 6124057"/>
              <a:gd name="connsiteY27" fmla="*/ 3971690 h 4423596"/>
              <a:gd name="connsiteX28" fmla="*/ 1811972 w 6124057"/>
              <a:gd name="connsiteY28" fmla="*/ 3971690 h 4423596"/>
              <a:gd name="connsiteX29" fmla="*/ 2086727 w 6124057"/>
              <a:gd name="connsiteY29" fmla="*/ 3696934 h 4423596"/>
              <a:gd name="connsiteX30" fmla="*/ 2086726 w 6124057"/>
              <a:gd name="connsiteY30" fmla="*/ 2753453 h 4423596"/>
              <a:gd name="connsiteX31" fmla="*/ 1811971 w 6124057"/>
              <a:gd name="connsiteY31" fmla="*/ 2478698 h 4423596"/>
              <a:gd name="connsiteX32" fmla="*/ 868491 w 6124057"/>
              <a:gd name="connsiteY32" fmla="*/ 2478698 h 4423596"/>
              <a:gd name="connsiteX33" fmla="*/ 674210 w 6124057"/>
              <a:gd name="connsiteY33" fmla="*/ 2559172 h 4423596"/>
              <a:gd name="connsiteX34" fmla="*/ 2269999 w 6124057"/>
              <a:gd name="connsiteY34" fmla="*/ 153193 h 4423596"/>
              <a:gd name="connsiteX35" fmla="*/ 2116806 w 6124057"/>
              <a:gd name="connsiteY35" fmla="*/ 523034 h 4423596"/>
              <a:gd name="connsiteX36" fmla="*/ 2116806 w 6124057"/>
              <a:gd name="connsiteY36" fmla="*/ 2319074 h 4423596"/>
              <a:gd name="connsiteX37" fmla="*/ 2639839 w 6124057"/>
              <a:gd name="connsiteY37" fmla="*/ 2842108 h 4423596"/>
              <a:gd name="connsiteX38" fmla="*/ 4435880 w 6124057"/>
              <a:gd name="connsiteY38" fmla="*/ 2842108 h 4423596"/>
              <a:gd name="connsiteX39" fmla="*/ 4958913 w 6124057"/>
              <a:gd name="connsiteY39" fmla="*/ 2319074 h 4423596"/>
              <a:gd name="connsiteX40" fmla="*/ 4958913 w 6124057"/>
              <a:gd name="connsiteY40" fmla="*/ 1820539 h 4423596"/>
              <a:gd name="connsiteX41" fmla="*/ 3138375 w 6124057"/>
              <a:gd name="connsiteY41" fmla="*/ 0 h 4423596"/>
              <a:gd name="connsiteX42" fmla="*/ 2639839 w 6124057"/>
              <a:gd name="connsiteY42" fmla="*/ 0 h 4423596"/>
              <a:gd name="connsiteX43" fmla="*/ 2269999 w 6124057"/>
              <a:gd name="connsiteY43" fmla="*/ 153193 h 4423596"/>
              <a:gd name="connsiteX44" fmla="*/ 109954 w 6124057"/>
              <a:gd name="connsiteY44" fmla="*/ 471109 h 4423596"/>
              <a:gd name="connsiteX45" fmla="*/ 0 w 6124057"/>
              <a:gd name="connsiteY45" fmla="*/ 736561 h 4423596"/>
              <a:gd name="connsiteX46" fmla="*/ 0 w 6124057"/>
              <a:gd name="connsiteY46" fmla="*/ 2025666 h 4423596"/>
              <a:gd name="connsiteX47" fmla="*/ 375406 w 6124057"/>
              <a:gd name="connsiteY47" fmla="*/ 2401073 h 4423596"/>
              <a:gd name="connsiteX48" fmla="*/ 1664511 w 6124057"/>
              <a:gd name="connsiteY48" fmla="*/ 2401073 h 4423596"/>
              <a:gd name="connsiteX49" fmla="*/ 2039918 w 6124057"/>
              <a:gd name="connsiteY49" fmla="*/ 2025666 h 4423596"/>
              <a:gd name="connsiteX50" fmla="*/ 2039918 w 6124057"/>
              <a:gd name="connsiteY50" fmla="*/ 736561 h 4423596"/>
              <a:gd name="connsiteX51" fmla="*/ 1664511 w 6124057"/>
              <a:gd name="connsiteY51" fmla="*/ 361155 h 4423596"/>
              <a:gd name="connsiteX52" fmla="*/ 375406 w 6124057"/>
              <a:gd name="connsiteY52" fmla="*/ 361154 h 4423596"/>
              <a:gd name="connsiteX53" fmla="*/ 109954 w 6124057"/>
              <a:gd name="connsiteY53" fmla="*/ 471109 h 442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124057" h="4423596">
                <a:moveTo>
                  <a:pt x="5068708" y="1941767"/>
                </a:moveTo>
                <a:lnTo>
                  <a:pt x="5054948" y="2018209"/>
                </a:lnTo>
                <a:lnTo>
                  <a:pt x="5097293" y="4023880"/>
                </a:lnTo>
                <a:lnTo>
                  <a:pt x="6124057" y="2997116"/>
                </a:lnTo>
                <a:close/>
                <a:moveTo>
                  <a:pt x="3845217" y="3007004"/>
                </a:moveTo>
                <a:cubicBezTo>
                  <a:pt x="3810129" y="3043607"/>
                  <a:pt x="3789004" y="3093595"/>
                  <a:pt x="3790158" y="3148293"/>
                </a:cubicBezTo>
                <a:lnTo>
                  <a:pt x="3806886" y="3940588"/>
                </a:lnTo>
                <a:cubicBezTo>
                  <a:pt x="3809196" y="4049985"/>
                  <a:pt x="3899751" y="4136796"/>
                  <a:pt x="4009148" y="4134486"/>
                </a:cubicBezTo>
                <a:lnTo>
                  <a:pt x="4801443" y="4117758"/>
                </a:lnTo>
                <a:cubicBezTo>
                  <a:pt x="4910840" y="4115449"/>
                  <a:pt x="4997651" y="4024893"/>
                  <a:pt x="4995341" y="3915497"/>
                </a:cubicBezTo>
                <a:lnTo>
                  <a:pt x="4978613" y="3123201"/>
                </a:lnTo>
                <a:cubicBezTo>
                  <a:pt x="4976304" y="3013805"/>
                  <a:pt x="4885748" y="2926994"/>
                  <a:pt x="4776352" y="2929303"/>
                </a:cubicBezTo>
                <a:lnTo>
                  <a:pt x="3984056" y="2946031"/>
                </a:lnTo>
                <a:cubicBezTo>
                  <a:pt x="3929358" y="2947186"/>
                  <a:pt x="3880306" y="2970402"/>
                  <a:pt x="3845217" y="3007004"/>
                </a:cubicBezTo>
                <a:close/>
                <a:moveTo>
                  <a:pt x="2252395" y="3011078"/>
                </a:moveTo>
                <a:cubicBezTo>
                  <a:pt x="2202675" y="3060799"/>
                  <a:pt x="2171921" y="3129488"/>
                  <a:pt x="2171921" y="3205359"/>
                </a:cubicBezTo>
                <a:lnTo>
                  <a:pt x="2171921" y="4148841"/>
                </a:lnTo>
                <a:cubicBezTo>
                  <a:pt x="2171921" y="4300583"/>
                  <a:pt x="2294934" y="4423596"/>
                  <a:pt x="2446677" y="4423596"/>
                </a:cubicBezTo>
                <a:lnTo>
                  <a:pt x="3390157" y="4423596"/>
                </a:lnTo>
                <a:cubicBezTo>
                  <a:pt x="3541900" y="4423596"/>
                  <a:pt x="3664913" y="4300583"/>
                  <a:pt x="3664913" y="4148841"/>
                </a:cubicBezTo>
                <a:lnTo>
                  <a:pt x="3664913" y="3205359"/>
                </a:lnTo>
                <a:cubicBezTo>
                  <a:pt x="3664913" y="3053617"/>
                  <a:pt x="3541900" y="2930604"/>
                  <a:pt x="3390157" y="2930604"/>
                </a:cubicBezTo>
                <a:lnTo>
                  <a:pt x="2446676" y="2930604"/>
                </a:lnTo>
                <a:cubicBezTo>
                  <a:pt x="2370805" y="2930605"/>
                  <a:pt x="2302116" y="2961358"/>
                  <a:pt x="2252395" y="3011078"/>
                </a:cubicBezTo>
                <a:close/>
                <a:moveTo>
                  <a:pt x="674210" y="2559172"/>
                </a:moveTo>
                <a:cubicBezTo>
                  <a:pt x="624488" y="2608893"/>
                  <a:pt x="593735" y="2677582"/>
                  <a:pt x="593735" y="2753453"/>
                </a:cubicBezTo>
                <a:lnTo>
                  <a:pt x="593735" y="3696934"/>
                </a:lnTo>
                <a:cubicBezTo>
                  <a:pt x="593735" y="3848677"/>
                  <a:pt x="716748" y="3971690"/>
                  <a:pt x="868491" y="3971690"/>
                </a:cubicBezTo>
                <a:lnTo>
                  <a:pt x="1811972" y="3971690"/>
                </a:lnTo>
                <a:cubicBezTo>
                  <a:pt x="1963715" y="3971690"/>
                  <a:pt x="2086727" y="3848677"/>
                  <a:pt x="2086727" y="3696934"/>
                </a:cubicBezTo>
                <a:lnTo>
                  <a:pt x="2086726" y="2753453"/>
                </a:lnTo>
                <a:cubicBezTo>
                  <a:pt x="2086727" y="2601710"/>
                  <a:pt x="1963715" y="2478698"/>
                  <a:pt x="1811971" y="2478698"/>
                </a:cubicBezTo>
                <a:lnTo>
                  <a:pt x="868491" y="2478698"/>
                </a:lnTo>
                <a:cubicBezTo>
                  <a:pt x="792619" y="2478698"/>
                  <a:pt x="723931" y="2509451"/>
                  <a:pt x="674210" y="2559172"/>
                </a:cubicBezTo>
                <a:close/>
                <a:moveTo>
                  <a:pt x="2269999" y="153193"/>
                </a:moveTo>
                <a:cubicBezTo>
                  <a:pt x="2175348" y="247844"/>
                  <a:pt x="2116806" y="378602"/>
                  <a:pt x="2116806" y="523034"/>
                </a:cubicBezTo>
                <a:lnTo>
                  <a:pt x="2116806" y="2319074"/>
                </a:lnTo>
                <a:cubicBezTo>
                  <a:pt x="2116806" y="2607937"/>
                  <a:pt x="2350976" y="2842108"/>
                  <a:pt x="2639839" y="2842108"/>
                </a:cubicBezTo>
                <a:lnTo>
                  <a:pt x="4435880" y="2842108"/>
                </a:lnTo>
                <a:cubicBezTo>
                  <a:pt x="4724743" y="2842108"/>
                  <a:pt x="4958913" y="2607938"/>
                  <a:pt x="4958913" y="2319074"/>
                </a:cubicBezTo>
                <a:lnTo>
                  <a:pt x="4958913" y="1820539"/>
                </a:lnTo>
                <a:lnTo>
                  <a:pt x="3138375" y="0"/>
                </a:lnTo>
                <a:lnTo>
                  <a:pt x="2639839" y="0"/>
                </a:lnTo>
                <a:cubicBezTo>
                  <a:pt x="2495408" y="0"/>
                  <a:pt x="2364649" y="58543"/>
                  <a:pt x="2269999" y="153193"/>
                </a:cubicBezTo>
                <a:close/>
                <a:moveTo>
                  <a:pt x="109954" y="471109"/>
                </a:moveTo>
                <a:cubicBezTo>
                  <a:pt x="42020" y="539044"/>
                  <a:pt x="0" y="632896"/>
                  <a:pt x="0" y="736561"/>
                </a:cubicBezTo>
                <a:lnTo>
                  <a:pt x="0" y="2025666"/>
                </a:lnTo>
                <a:cubicBezTo>
                  <a:pt x="0" y="2232998"/>
                  <a:pt x="168076" y="2401073"/>
                  <a:pt x="375406" y="2401073"/>
                </a:cubicBezTo>
                <a:lnTo>
                  <a:pt x="1664511" y="2401073"/>
                </a:lnTo>
                <a:cubicBezTo>
                  <a:pt x="1871842" y="2401072"/>
                  <a:pt x="2039918" y="2232997"/>
                  <a:pt x="2039918" y="2025666"/>
                </a:cubicBezTo>
                <a:lnTo>
                  <a:pt x="2039918" y="736561"/>
                </a:lnTo>
                <a:cubicBezTo>
                  <a:pt x="2039918" y="529231"/>
                  <a:pt x="1871842" y="361155"/>
                  <a:pt x="1664511" y="361155"/>
                </a:cubicBezTo>
                <a:lnTo>
                  <a:pt x="375406" y="361154"/>
                </a:lnTo>
                <a:cubicBezTo>
                  <a:pt x="271741" y="361154"/>
                  <a:pt x="177890" y="403173"/>
                  <a:pt x="109954" y="471109"/>
                </a:cubicBezTo>
                <a:close/>
              </a:path>
            </a:pathLst>
          </a:custGeom>
          <a:solidFill>
            <a:srgbClr val="C6DFE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Title 27"/>
          <p:cNvSpPr>
            <a:spLocks noGrp="1"/>
          </p:cNvSpPr>
          <p:nvPr>
            <p:ph type="title"/>
          </p:nvPr>
        </p:nvSpPr>
        <p:spPr>
          <a:xfrm>
            <a:off x="4495800" y="3022478"/>
            <a:ext cx="7239000" cy="619125"/>
          </a:xfrm>
        </p:spPr>
        <p:txBody>
          <a:bodyPr vert="horz">
            <a:noAutofit/>
          </a:bodyPr>
          <a:lstStyle>
            <a:lvl1pPr algn="ct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456945034"/>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22599604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eader_opt+pic">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79248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
        <p:nvSpPr>
          <p:cNvPr id="6" name="Picture Placeholder 5"/>
          <p:cNvSpPr>
            <a:spLocks noGrp="1"/>
          </p:cNvSpPr>
          <p:nvPr>
            <p:ph type="pic" sz="quarter" idx="11"/>
          </p:nvPr>
        </p:nvSpPr>
        <p:spPr>
          <a:xfrm>
            <a:off x="7924800" y="609600"/>
            <a:ext cx="4267200" cy="5773738"/>
          </a:xfrm>
        </p:spPr>
        <p:txBody>
          <a:bodyPr/>
          <a:lstStyle/>
          <a:p>
            <a:endParaRPr lang="en-US"/>
          </a:p>
        </p:txBody>
      </p:sp>
    </p:spTree>
    <p:extLst>
      <p:ext uri="{BB962C8B-B14F-4D97-AF65-F5344CB8AC3E}">
        <p14:creationId xmlns:p14="http://schemas.microsoft.com/office/powerpoint/2010/main" val="30946663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eader_opt1">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60960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33959757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eader_opt2">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42672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16816626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1777631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Header_opt3">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33528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a:xfrm>
            <a:off x="3505200" y="243142"/>
            <a:ext cx="8002953" cy="671258"/>
          </a:xfrm>
        </p:spPr>
        <p:txBody>
          <a:bodyPr vert="horz"/>
          <a:lstStyle>
            <a:lvl1pPr>
              <a:defRPr>
                <a:solidFill>
                  <a:srgbClr val="5F1939"/>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15034218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eader_opt4">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24384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a:xfrm>
            <a:off x="2514600" y="243142"/>
            <a:ext cx="8993553" cy="671258"/>
          </a:xfrm>
        </p:spPr>
        <p:txBody>
          <a:bodyPr vert="horz"/>
          <a:lstStyle>
            <a:lvl1pPr>
              <a:defRPr>
                <a:solidFill>
                  <a:srgbClr val="5F1939"/>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94800061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eader_opt5">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15240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hasCustomPrompt="1"/>
          </p:nvPr>
        </p:nvSpPr>
        <p:spPr>
          <a:xfrm rot="16200000">
            <a:off x="-1566222" y="2861623"/>
            <a:ext cx="4718104" cy="671258"/>
          </a:xfrm>
        </p:spPr>
        <p:txBody>
          <a:bodyPr vert="horz" anchor="ctr" anchorCtr="0"/>
          <a:lstStyle>
            <a:lvl1pPr algn="ct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lt; Insert Subject &gt;</a:t>
            </a:r>
          </a:p>
        </p:txBody>
      </p:sp>
    </p:spTree>
    <p:extLst>
      <p:ext uri="{BB962C8B-B14F-4D97-AF65-F5344CB8AC3E}">
        <p14:creationId xmlns:p14="http://schemas.microsoft.com/office/powerpoint/2010/main" val="8274275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ankyo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12192000" cy="6400800"/>
          </a:xfrm>
          <a:prstGeom prst="rect">
            <a:avLst/>
          </a:prstGeom>
        </p:spPr>
      </p:pic>
      <p:sp>
        <p:nvSpPr>
          <p:cNvPr id="16" name="bg object 16"/>
          <p:cNvSpPr/>
          <p:nvPr userDrawn="1"/>
        </p:nvSpPr>
        <p:spPr>
          <a:xfrm>
            <a:off x="0" y="0"/>
            <a:ext cx="12192000" cy="6400799"/>
          </a:xfrm>
          <a:prstGeom prst="rect">
            <a:avLst/>
          </a:prstGeom>
          <a:gradFill flip="none" rotWithShape="1">
            <a:gsLst>
              <a:gs pos="38000">
                <a:srgbClr val="573059">
                  <a:alpha val="40000"/>
                </a:srgbClr>
              </a:gs>
              <a:gs pos="0">
                <a:srgbClr val="A21E4D">
                  <a:lumMod val="79000"/>
                  <a:alpha val="88000"/>
                </a:srgbClr>
              </a:gs>
              <a:gs pos="100000">
                <a:srgbClr val="004666">
                  <a:alpha val="86000"/>
                </a:srgbClr>
              </a:gs>
            </a:gsLst>
            <a:path path="circle">
              <a:fillToRect l="100000" t="100000"/>
            </a:path>
            <a:tileRect r="-100000" b="-100000"/>
          </a:gradFill>
        </p:spPr>
        <p:txBody>
          <a:bodyPr wrap="square" lIns="0" tIns="0" rIns="0" bIns="0" rtlCol="0"/>
          <a:lstStyle/>
          <a:p>
            <a:endParaRPr/>
          </a:p>
        </p:txBody>
      </p:sp>
      <p:sp>
        <p:nvSpPr>
          <p:cNvPr id="3" name="TextBox 2"/>
          <p:cNvSpPr txBox="1"/>
          <p:nvPr userDrawn="1"/>
        </p:nvSpPr>
        <p:spPr>
          <a:xfrm>
            <a:off x="3238500" y="3186113"/>
            <a:ext cx="5715000" cy="1062020"/>
          </a:xfrm>
          <a:prstGeom prst="rect">
            <a:avLst/>
          </a:prstGeom>
          <a:noFill/>
          <a:ln>
            <a:noFill/>
          </a:ln>
        </p:spPr>
        <p:txBody>
          <a:bodyPr wrap="square" rtlCol="0" anchor="t" anchorCtr="0">
            <a:noAutofit/>
          </a:bodyPr>
          <a:lstStyle/>
          <a:p>
            <a:pPr algn="ctr">
              <a:spcBef>
                <a:spcPts val="0"/>
              </a:spcBef>
            </a:pPr>
            <a:r>
              <a:rPr lang="en-US" sz="6600" b="1">
                <a:solidFill>
                  <a:schemeClr val="bg1"/>
                </a:solidFill>
                <a:latin typeface="+mj-lt"/>
              </a:rPr>
              <a:t>THANK YOU</a:t>
            </a:r>
          </a:p>
        </p:txBody>
      </p:sp>
      <p:sp>
        <p:nvSpPr>
          <p:cNvPr id="20" name="Freeform 19"/>
          <p:cNvSpPr/>
          <p:nvPr userDrawn="1"/>
        </p:nvSpPr>
        <p:spPr bwMode="auto">
          <a:xfrm rot="5400000" flipH="1">
            <a:off x="6073141" y="-1870724"/>
            <a:ext cx="45719"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
        <p:nvSpPr>
          <p:cNvPr id="21" name="Freeform 20"/>
          <p:cNvSpPr/>
          <p:nvPr userDrawn="1"/>
        </p:nvSpPr>
        <p:spPr bwMode="auto">
          <a:xfrm rot="5400000" flipH="1">
            <a:off x="6073140" y="281941"/>
            <a:ext cx="45719"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grpSp>
        <p:nvGrpSpPr>
          <p:cNvPr id="27" name="Group 26"/>
          <p:cNvGrpSpPr/>
          <p:nvPr userDrawn="1"/>
        </p:nvGrpSpPr>
        <p:grpSpPr>
          <a:xfrm>
            <a:off x="744583" y="6677298"/>
            <a:ext cx="1959887" cy="137160"/>
            <a:chOff x="2468857" y="3453520"/>
            <a:chExt cx="1959887" cy="137160"/>
          </a:xfrm>
        </p:grpSpPr>
        <p:sp>
          <p:nvSpPr>
            <p:cNvPr id="28" name="Rectangle 181"/>
            <p:cNvSpPr>
              <a:spLocks noChangeArrowheads="1"/>
            </p:cNvSpPr>
            <p:nvPr userDrawn="1"/>
          </p:nvSpPr>
          <p:spPr bwMode="auto">
            <a:xfrm>
              <a:off x="4109314" y="3453520"/>
              <a:ext cx="137160" cy="137160"/>
            </a:xfrm>
            <a:prstGeom prst="ellipse">
              <a:avLst/>
            </a:prstGeom>
            <a:solidFill>
              <a:srgbClr val="F6E5BC"/>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a:lnSpc>
                  <a:spcPct val="110000"/>
                </a:lnSpc>
                <a:spcAft>
                  <a:spcPct val="25000"/>
                </a:spcAft>
                <a:defRPr>
                  <a:solidFill>
                    <a:schemeClr val="tx1"/>
                  </a:solidFill>
                  <a:latin typeface="VWAG TheSans" panose="020B0502050302020203" pitchFamily="34" charset="0"/>
                </a:defRPr>
              </a:lvl1pPr>
              <a:lvl2pPr marL="742950" indent="-285750">
                <a:lnSpc>
                  <a:spcPct val="110000"/>
                </a:lnSpc>
                <a:spcAft>
                  <a:spcPct val="25000"/>
                </a:spcAft>
                <a:buChar char="•"/>
                <a:defRPr>
                  <a:solidFill>
                    <a:schemeClr val="tx1"/>
                  </a:solidFill>
                  <a:latin typeface="VWAG TheSans" panose="020B0502050302020203" pitchFamily="34" charset="0"/>
                </a:defRPr>
              </a:lvl2pPr>
              <a:lvl3pPr marL="1143000" indent="-228600">
                <a:lnSpc>
                  <a:spcPct val="110000"/>
                </a:lnSpc>
                <a:spcAft>
                  <a:spcPct val="25000"/>
                </a:spcAft>
                <a:buChar char="•"/>
                <a:defRPr>
                  <a:solidFill>
                    <a:schemeClr val="tx1"/>
                  </a:solidFill>
                  <a:latin typeface="VWAG TheSans" panose="020B0502050302020203" pitchFamily="34" charset="0"/>
                </a:defRPr>
              </a:lvl3pPr>
              <a:lvl4pPr marL="1600200" indent="-228600">
                <a:lnSpc>
                  <a:spcPct val="110000"/>
                </a:lnSpc>
                <a:spcAft>
                  <a:spcPct val="25000"/>
                </a:spcAft>
                <a:buChar char="•"/>
                <a:defRPr>
                  <a:solidFill>
                    <a:schemeClr val="tx1"/>
                  </a:solidFill>
                  <a:latin typeface="VWAG TheSans" panose="020B0502050302020203" pitchFamily="34" charset="0"/>
                </a:defRPr>
              </a:lvl4pPr>
              <a:lvl5pPr marL="2057400" indent="-228600">
                <a:lnSpc>
                  <a:spcPct val="110000"/>
                </a:lnSpc>
                <a:spcAft>
                  <a:spcPct val="25000"/>
                </a:spcAft>
                <a:buChar char="•"/>
                <a:defRPr>
                  <a:solidFill>
                    <a:schemeClr val="tx1"/>
                  </a:solidFill>
                  <a:latin typeface="VWAG TheSans" panose="020B0502050302020203" pitchFamily="34" charset="0"/>
                </a:defRPr>
              </a:lvl5pPr>
              <a:lvl6pPr marL="25146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9718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4290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8862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a:lnSpc>
                  <a:spcPct val="90000"/>
                </a:lnSpc>
                <a:spcBef>
                  <a:spcPts val="0"/>
                </a:spcBef>
                <a:spcAft>
                  <a:spcPts val="0"/>
                </a:spcAft>
              </a:pPr>
              <a:endParaRPr lang="de-DE" altLang="de-DE" sz="900" b="1">
                <a:latin typeface="VWAG TheSans" panose="020B0502050302020203" pitchFamily="34" charset="0"/>
                <a:ea typeface="MS PGothic" panose="020B0600070205080204" pitchFamily="34" charset="-128"/>
                <a:cs typeface="MS PGothic" panose="020B0600070205080204" pitchFamily="34" charset="-128"/>
                <a:sym typeface="VWAG TheSans" panose="020B0502050302020203" pitchFamily="34" charset="0"/>
              </a:endParaRPr>
            </a:p>
          </p:txBody>
        </p:sp>
        <p:sp>
          <p:nvSpPr>
            <p:cNvPr id="29" name="Rectangle 184"/>
            <p:cNvSpPr>
              <a:spLocks noChangeArrowheads="1"/>
            </p:cNvSpPr>
            <p:nvPr userDrawn="1"/>
          </p:nvSpPr>
          <p:spPr bwMode="auto">
            <a:xfrm>
              <a:off x="3744768" y="3453520"/>
              <a:ext cx="137160" cy="137160"/>
            </a:xfrm>
            <a:prstGeom prst="ellipse">
              <a:avLst/>
            </a:prstGeom>
            <a:solidFill>
              <a:srgbClr val="D8AA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endParaRPr lang="de-DE" altLang="de-DE" sz="900" b="1">
                <a:latin typeface="VWAG TheSans" panose="020B0502050302020203" pitchFamily="34" charset="0"/>
                <a:sym typeface="VWAG TheSans" panose="020B0502050302020203" pitchFamily="34" charset="0"/>
              </a:endParaRPr>
            </a:p>
          </p:txBody>
        </p:sp>
        <p:sp>
          <p:nvSpPr>
            <p:cNvPr id="30" name="Rectangle 185"/>
            <p:cNvSpPr>
              <a:spLocks noChangeArrowheads="1"/>
            </p:cNvSpPr>
            <p:nvPr userDrawn="1"/>
          </p:nvSpPr>
          <p:spPr bwMode="auto">
            <a:xfrm>
              <a:off x="4291584" y="3453520"/>
              <a:ext cx="137160" cy="137160"/>
            </a:xfrm>
            <a:prstGeom prst="ellipse">
              <a:avLst/>
            </a:prstGeom>
            <a:solidFill>
              <a:srgbClr val="95A844"/>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endParaRPr lang="de-DE" altLang="de-DE" sz="900" b="1">
                <a:latin typeface="VWAG TheSans" panose="020B0502050302020203" pitchFamily="34" charset="0"/>
                <a:sym typeface="VWAG TheSans" panose="020B0502050302020203" pitchFamily="34" charset="0"/>
              </a:endParaRPr>
            </a:p>
          </p:txBody>
        </p:sp>
        <p:sp>
          <p:nvSpPr>
            <p:cNvPr id="31" name="Rectangle 186"/>
            <p:cNvSpPr>
              <a:spLocks noChangeArrowheads="1"/>
            </p:cNvSpPr>
            <p:nvPr userDrawn="1"/>
          </p:nvSpPr>
          <p:spPr bwMode="auto">
            <a:xfrm>
              <a:off x="3927041" y="3453520"/>
              <a:ext cx="137160" cy="137160"/>
            </a:xfrm>
            <a:prstGeom prst="ellipse">
              <a:avLst/>
            </a:prstGeom>
            <a:solidFill>
              <a:srgbClr val="C2CCA6"/>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endParaRPr lang="de-DE" altLang="de-DE" sz="900" b="1">
                <a:latin typeface="VWAG TheSans" panose="020B0502050302020203" pitchFamily="34" charset="0"/>
                <a:sym typeface="VWAG TheSans" panose="020B0502050302020203" pitchFamily="34" charset="0"/>
              </a:endParaRPr>
            </a:p>
          </p:txBody>
        </p:sp>
        <p:sp>
          <p:nvSpPr>
            <p:cNvPr id="32" name="Rectangle 16"/>
            <p:cNvSpPr/>
            <p:nvPr userDrawn="1"/>
          </p:nvSpPr>
          <p:spPr bwMode="auto">
            <a:xfrm>
              <a:off x="2468857" y="3453520"/>
              <a:ext cx="137160" cy="137160"/>
            </a:xfrm>
            <a:prstGeom prst="ellipse">
              <a:avLst/>
            </a:prstGeom>
            <a:solidFill>
              <a:srgbClr val="5F1939"/>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a:ln>
                  <a:noFill/>
                </a:ln>
                <a:solidFill>
                  <a:schemeClr val="tx1"/>
                </a:solidFill>
                <a:effectLst/>
                <a:latin typeface="VWAG TheSans" panose="020B0502050302020203" pitchFamily="34" charset="0"/>
                <a:sym typeface="VWAG TheSans" panose="020B0502050302020203" pitchFamily="34" charset="0"/>
              </a:endParaRPr>
            </a:p>
          </p:txBody>
        </p:sp>
        <p:sp>
          <p:nvSpPr>
            <p:cNvPr id="33" name="Rectangle 18"/>
            <p:cNvSpPr/>
            <p:nvPr userDrawn="1"/>
          </p:nvSpPr>
          <p:spPr bwMode="auto">
            <a:xfrm>
              <a:off x="2651130" y="3453520"/>
              <a:ext cx="137160" cy="137160"/>
            </a:xfrm>
            <a:prstGeom prst="ellipse">
              <a:avLst/>
            </a:prstGeom>
            <a:solidFill>
              <a:srgbClr val="A21E4D"/>
            </a:solidFill>
            <a:ln w="6350">
              <a:noFill/>
              <a:miter lim="800000"/>
              <a:headEnd/>
              <a:tailEnd/>
            </a:ln>
          </p:spPr>
          <p:txBody>
            <a:bodyPr wrap="none" lIns="50612" tIns="25306" rIns="50612" bIns="25306" anchor="ctr"/>
            <a:lstStyle/>
            <a:p>
              <a:pPr lvl="0" algn="ctr" defTabSz="674688"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34" name="Rectangle 19"/>
            <p:cNvSpPr/>
            <p:nvPr userDrawn="1"/>
          </p:nvSpPr>
          <p:spPr bwMode="auto">
            <a:xfrm>
              <a:off x="2833403" y="3453520"/>
              <a:ext cx="137160" cy="137160"/>
            </a:xfrm>
            <a:prstGeom prst="ellipse">
              <a:avLst/>
            </a:prstGeom>
            <a:solidFill>
              <a:srgbClr val="4C5356"/>
            </a:solidFill>
            <a:ln w="6350">
              <a:noFill/>
              <a:miter lim="800000"/>
              <a:headEnd/>
              <a:tailEnd/>
            </a:ln>
          </p:spPr>
          <p:txBody>
            <a:bodyPr wrap="none" lIns="71839" tIns="35920" rIns="71839" bIns="35920" anchor="ctr"/>
            <a:lstStyle/>
            <a:p>
              <a:pPr lvl="0" algn="ctr" defTabSz="958850"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35" name="Rectangle 20"/>
            <p:cNvSpPr/>
            <p:nvPr userDrawn="1"/>
          </p:nvSpPr>
          <p:spPr bwMode="auto">
            <a:xfrm>
              <a:off x="3015676" y="3453520"/>
              <a:ext cx="137160" cy="137160"/>
            </a:xfrm>
            <a:prstGeom prst="ellipse">
              <a:avLst/>
            </a:prstGeom>
            <a:solidFill>
              <a:srgbClr val="A8ADB3"/>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p>
              <a:pPr lvl="0" algn="ctr" defTabSz="674688" eaLnBrk="1" hangingPunct="1">
                <a:lnSpc>
                  <a:spcPct val="90000"/>
                </a:lnSpc>
                <a:spcBef>
                  <a:spcPts val="0"/>
                </a:spcBef>
                <a:spcAft>
                  <a:spcPts val="0"/>
                </a:spcAft>
              </a:pPr>
              <a:endParaRPr lang="en-US" sz="1050" b="1">
                <a:latin typeface="VWAG TheSans" panose="020B0502050302020203" pitchFamily="34" charset="0"/>
                <a:sym typeface="VWAG TheSans" panose="020B0502050302020203" pitchFamily="34" charset="0"/>
              </a:endParaRPr>
            </a:p>
          </p:txBody>
        </p:sp>
        <p:sp>
          <p:nvSpPr>
            <p:cNvPr id="36" name="Rectangle 21"/>
            <p:cNvSpPr/>
            <p:nvPr userDrawn="1"/>
          </p:nvSpPr>
          <p:spPr bwMode="auto">
            <a:xfrm>
              <a:off x="3197949" y="3453520"/>
              <a:ext cx="137160" cy="137160"/>
            </a:xfrm>
            <a:prstGeom prst="ellipse">
              <a:avLst/>
            </a:prstGeom>
            <a:solidFill>
              <a:srgbClr val="004666"/>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p>
              <a:pPr lvl="0" algn="ctr" defTabSz="958850"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37" name="Rectangle 22"/>
            <p:cNvSpPr/>
            <p:nvPr userDrawn="1"/>
          </p:nvSpPr>
          <p:spPr bwMode="auto">
            <a:xfrm>
              <a:off x="3562495" y="3453520"/>
              <a:ext cx="137160" cy="137160"/>
            </a:xfrm>
            <a:prstGeom prst="ellipse">
              <a:avLst/>
            </a:prstGeom>
            <a:solidFill>
              <a:srgbClr val="C6DFE7"/>
            </a:solidFill>
            <a:ln w="635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p>
              <a:pPr lvl="0" algn="ctr" defTabSz="958850" eaLnBrk="1" hangingPunct="1">
                <a:lnSpc>
                  <a:spcPct val="90000"/>
                </a:lnSpc>
                <a:spcBef>
                  <a:spcPts val="0"/>
                </a:spcBef>
                <a:spcAft>
                  <a:spcPts val="0"/>
                </a:spcAft>
              </a:pPr>
              <a:endParaRPr lang="en-US" sz="1050" b="1">
                <a:latin typeface="VWAG TheSans" panose="020B0502050302020203" pitchFamily="34" charset="0"/>
                <a:sym typeface="VWAG TheSans" panose="020B0502050302020203" pitchFamily="34" charset="0"/>
              </a:endParaRPr>
            </a:p>
          </p:txBody>
        </p:sp>
        <p:sp>
          <p:nvSpPr>
            <p:cNvPr id="38" name="Rectangle 23"/>
            <p:cNvSpPr/>
            <p:nvPr userDrawn="1"/>
          </p:nvSpPr>
          <p:spPr bwMode="auto">
            <a:xfrm>
              <a:off x="3380222" y="3453520"/>
              <a:ext cx="137160" cy="137160"/>
            </a:xfrm>
            <a:prstGeom prst="ellipse">
              <a:avLst/>
            </a:prstGeom>
            <a:solidFill>
              <a:srgbClr val="006384"/>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p>
              <a:pPr lvl="0" algn="ctr" defTabSz="674688"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grpSp>
    </p:spTree>
    <p:extLst>
      <p:ext uri="{BB962C8B-B14F-4D97-AF65-F5344CB8AC3E}">
        <p14:creationId xmlns:p14="http://schemas.microsoft.com/office/powerpoint/2010/main" val="539390661"/>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WITS Colours reference">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3" name="Object 2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VWAG TheSans" panose="020B0502050302020203" pitchFamily="34" charset="0"/>
                <a:sym typeface="VWAG TheSans" panose="020B0502050302020203" pitchFamily="34" charset="0"/>
              </a:defRPr>
            </a:lvl1pPr>
          </a:lstStyle>
          <a:p>
            <a:r>
              <a:rPr lang="en-US"/>
              <a:t>Click to edit Master title style</a:t>
            </a:r>
          </a:p>
        </p:txBody>
      </p:sp>
      <p:sp>
        <p:nvSpPr>
          <p:cNvPr id="4" name="Rectangle 132"/>
          <p:cNvSpPr txBox="1">
            <a:spLocks noChangeArrowheads="1"/>
          </p:cNvSpPr>
          <p:nvPr userDrawn="1"/>
        </p:nvSpPr>
        <p:spPr>
          <a:xfrm>
            <a:off x="807823" y="1617515"/>
            <a:ext cx="10614429" cy="409030"/>
          </a:xfrm>
          <a:prstGeom prst="rect">
            <a:avLst/>
          </a:prstGeom>
          <a:noFill/>
        </p:spPr>
        <p:txBody>
          <a:bodyPr/>
          <a:lstStyle>
            <a:lvl1pPr algn="l" defTabSz="958827" rtl="0" eaLnBrk="1" fontAlgn="base" hangingPunct="1">
              <a:lnSpc>
                <a:spcPct val="110000"/>
              </a:lnSpc>
              <a:spcBef>
                <a:spcPct val="0"/>
              </a:spcBef>
              <a:spcAft>
                <a:spcPct val="25000"/>
              </a:spcAft>
              <a:defRPr sz="1867">
                <a:solidFill>
                  <a:schemeClr val="tx1"/>
                </a:solidFill>
                <a:latin typeface="+mn-lt"/>
                <a:ea typeface="+mn-ea"/>
                <a:cs typeface="+mn-cs"/>
              </a:defRPr>
            </a:lvl1pPr>
            <a:lvl2pPr marL="190495" indent="-188909" algn="l" defTabSz="958827" rtl="0" eaLnBrk="1" fontAlgn="base" hangingPunct="1">
              <a:lnSpc>
                <a:spcPct val="110000"/>
              </a:lnSpc>
              <a:spcBef>
                <a:spcPct val="0"/>
              </a:spcBef>
              <a:spcAft>
                <a:spcPct val="25000"/>
              </a:spcAft>
              <a:buChar char="•"/>
              <a:defRPr sz="1867">
                <a:solidFill>
                  <a:schemeClr val="tx1"/>
                </a:solidFill>
                <a:latin typeface="+mn-lt"/>
              </a:defRPr>
            </a:lvl2pPr>
            <a:lvl3pPr marL="380990" indent="-188909" algn="l" defTabSz="958827" rtl="0" eaLnBrk="1" fontAlgn="base" hangingPunct="1">
              <a:lnSpc>
                <a:spcPct val="110000"/>
              </a:lnSpc>
              <a:spcBef>
                <a:spcPct val="0"/>
              </a:spcBef>
              <a:spcAft>
                <a:spcPct val="25000"/>
              </a:spcAft>
              <a:buChar char="•"/>
              <a:defRPr sz="1867">
                <a:solidFill>
                  <a:schemeClr val="tx1"/>
                </a:solidFill>
                <a:latin typeface="+mn-lt"/>
              </a:defRPr>
            </a:lvl3pPr>
            <a:lvl4pPr marL="571486" indent="-188909" algn="l" defTabSz="958827" rtl="0" eaLnBrk="1" fontAlgn="base" hangingPunct="1">
              <a:lnSpc>
                <a:spcPct val="110000"/>
              </a:lnSpc>
              <a:spcBef>
                <a:spcPct val="0"/>
              </a:spcBef>
              <a:spcAft>
                <a:spcPct val="25000"/>
              </a:spcAft>
              <a:buChar char="•"/>
              <a:defRPr sz="1867">
                <a:solidFill>
                  <a:schemeClr val="tx1"/>
                </a:solidFill>
                <a:latin typeface="+mn-lt"/>
              </a:defRPr>
            </a:lvl4pPr>
            <a:lvl5pPr marL="761981" indent="-188909" algn="l" defTabSz="958827" rtl="0" eaLnBrk="1" fontAlgn="base" hangingPunct="1">
              <a:lnSpc>
                <a:spcPct val="110000"/>
              </a:lnSpc>
              <a:spcBef>
                <a:spcPct val="0"/>
              </a:spcBef>
              <a:spcAft>
                <a:spcPct val="25000"/>
              </a:spcAft>
              <a:buChar char="•"/>
              <a:defRPr sz="1867">
                <a:solidFill>
                  <a:schemeClr val="tx1"/>
                </a:solidFill>
                <a:latin typeface="+mn-lt"/>
              </a:defRPr>
            </a:lvl5pPr>
            <a:lvl6pPr marL="1219170" indent="-188909" algn="l" defTabSz="958827" rtl="0" eaLnBrk="1" fontAlgn="base" hangingPunct="1">
              <a:lnSpc>
                <a:spcPct val="110000"/>
              </a:lnSpc>
              <a:spcBef>
                <a:spcPct val="0"/>
              </a:spcBef>
              <a:spcAft>
                <a:spcPct val="25000"/>
              </a:spcAft>
              <a:buChar char="•"/>
              <a:defRPr>
                <a:solidFill>
                  <a:schemeClr val="tx1"/>
                </a:solidFill>
                <a:latin typeface="+mn-lt"/>
              </a:defRPr>
            </a:lvl6pPr>
            <a:lvl7pPr marL="1676358" indent="-188909" algn="l" defTabSz="958827" rtl="0" eaLnBrk="1" fontAlgn="base" hangingPunct="1">
              <a:lnSpc>
                <a:spcPct val="110000"/>
              </a:lnSpc>
              <a:spcBef>
                <a:spcPct val="0"/>
              </a:spcBef>
              <a:spcAft>
                <a:spcPct val="25000"/>
              </a:spcAft>
              <a:buChar char="•"/>
              <a:defRPr>
                <a:solidFill>
                  <a:schemeClr val="tx1"/>
                </a:solidFill>
                <a:latin typeface="+mn-lt"/>
              </a:defRPr>
            </a:lvl7pPr>
            <a:lvl8pPr marL="2133547" indent="-188909" algn="l" defTabSz="958827" rtl="0" eaLnBrk="1" fontAlgn="base" hangingPunct="1">
              <a:lnSpc>
                <a:spcPct val="110000"/>
              </a:lnSpc>
              <a:spcBef>
                <a:spcPct val="0"/>
              </a:spcBef>
              <a:spcAft>
                <a:spcPct val="25000"/>
              </a:spcAft>
              <a:buChar char="•"/>
              <a:defRPr>
                <a:solidFill>
                  <a:schemeClr val="tx1"/>
                </a:solidFill>
                <a:latin typeface="+mn-lt"/>
              </a:defRPr>
            </a:lvl8pPr>
            <a:lvl9pPr marL="2590735" indent="-188909" algn="l" defTabSz="958827" rtl="0" eaLnBrk="1" fontAlgn="base" hangingPunct="1">
              <a:lnSpc>
                <a:spcPct val="110000"/>
              </a:lnSpc>
              <a:spcBef>
                <a:spcPct val="0"/>
              </a:spcBef>
              <a:spcAft>
                <a:spcPct val="25000"/>
              </a:spcAft>
              <a:buChar char="•"/>
              <a:defRPr>
                <a:solidFill>
                  <a:schemeClr val="tx1"/>
                </a:solidFill>
                <a:latin typeface="+mn-lt"/>
              </a:defRPr>
            </a:lvl9pPr>
          </a:lstStyle>
          <a:p>
            <a:r>
              <a:rPr lang="en-US" altLang="de-DE" sz="1200" kern="0">
                <a:latin typeface="VWAG TheSans" panose="020B0502050302020203" pitchFamily="34" charset="0"/>
                <a:sym typeface="VWAG TheSans" panose="020B0502050302020203" pitchFamily="34" charset="0"/>
              </a:rPr>
              <a:t>Colors created in the PowerPoint color scheme</a:t>
            </a:r>
            <a:endParaRPr lang="de-DE" altLang="de-DE" sz="1200" kern="0">
              <a:latin typeface="VWAG TheSans" panose="020B0502050302020203" pitchFamily="34" charset="0"/>
              <a:sym typeface="VWAG TheSans" panose="020B0502050302020203" pitchFamily="34" charset="0"/>
            </a:endParaRPr>
          </a:p>
        </p:txBody>
      </p:sp>
      <p:sp>
        <p:nvSpPr>
          <p:cNvPr id="5" name="Rectangle 170"/>
          <p:cNvSpPr>
            <a:spLocks noChangeArrowheads="1"/>
          </p:cNvSpPr>
          <p:nvPr userDrawn="1"/>
        </p:nvSpPr>
        <p:spPr bwMode="auto">
          <a:xfrm>
            <a:off x="807824" y="3251333"/>
            <a:ext cx="10614429" cy="478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58850">
              <a:lnSpc>
                <a:spcPct val="110000"/>
              </a:lnSpc>
              <a:spcAft>
                <a:spcPct val="25000"/>
              </a:spcAft>
              <a:defRPr>
                <a:solidFill>
                  <a:schemeClr val="tx1"/>
                </a:solidFill>
                <a:latin typeface="VWAG TheSans" panose="020B0502050302020203" pitchFamily="34" charset="0"/>
              </a:defRPr>
            </a:lvl1pPr>
            <a:lvl2pPr marL="190500" indent="-188913" defTabSz="958850">
              <a:lnSpc>
                <a:spcPct val="110000"/>
              </a:lnSpc>
              <a:spcAft>
                <a:spcPct val="25000"/>
              </a:spcAft>
              <a:buChar char="•"/>
              <a:defRPr>
                <a:solidFill>
                  <a:schemeClr val="tx1"/>
                </a:solidFill>
                <a:latin typeface="VWAG TheSans" panose="020B0502050302020203" pitchFamily="34" charset="0"/>
              </a:defRPr>
            </a:lvl2pPr>
            <a:lvl3pPr marL="381000" indent="-188913" defTabSz="958850">
              <a:lnSpc>
                <a:spcPct val="110000"/>
              </a:lnSpc>
              <a:spcAft>
                <a:spcPct val="25000"/>
              </a:spcAft>
              <a:buChar char="•"/>
              <a:defRPr>
                <a:solidFill>
                  <a:schemeClr val="tx1"/>
                </a:solidFill>
                <a:latin typeface="VWAG TheSans" panose="020B0502050302020203" pitchFamily="34" charset="0"/>
              </a:defRPr>
            </a:lvl3pPr>
            <a:lvl4pPr marL="571500" indent="-188913" defTabSz="958850">
              <a:lnSpc>
                <a:spcPct val="110000"/>
              </a:lnSpc>
              <a:spcAft>
                <a:spcPct val="25000"/>
              </a:spcAft>
              <a:buChar char="•"/>
              <a:defRPr>
                <a:solidFill>
                  <a:schemeClr val="tx1"/>
                </a:solidFill>
                <a:latin typeface="VWAG TheSans" panose="020B0502050302020203" pitchFamily="34" charset="0"/>
              </a:defRPr>
            </a:lvl4pPr>
            <a:lvl5pPr marL="762000" indent="-188913" defTabSz="958850">
              <a:lnSpc>
                <a:spcPct val="110000"/>
              </a:lnSpc>
              <a:spcAft>
                <a:spcPct val="25000"/>
              </a:spcAft>
              <a:buChar char="•"/>
              <a:defRPr>
                <a:solidFill>
                  <a:schemeClr val="tx1"/>
                </a:solidFill>
                <a:latin typeface="VWAG TheSans" panose="020B0502050302020203" pitchFamily="34" charset="0"/>
              </a:defRPr>
            </a:lvl5pPr>
            <a:lvl6pPr marL="1219200"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1676400"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133600"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2590800"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eaLnBrk="1" hangingPunct="1">
              <a:lnSpc>
                <a:spcPct val="90000"/>
              </a:lnSpc>
              <a:spcBef>
                <a:spcPts val="0"/>
              </a:spcBef>
              <a:spcAft>
                <a:spcPts val="0"/>
              </a:spcAft>
            </a:pPr>
            <a:r>
              <a:rPr lang="en-US" altLang="de-DE" sz="1400">
                <a:latin typeface="VWAG TheSans" panose="020B0502050302020203" pitchFamily="34" charset="0"/>
                <a:sym typeface="VWAG TheSans" panose="020B0502050302020203" pitchFamily="34" charset="0"/>
              </a:rPr>
              <a:t>Additional colors (to be defined via: Additional colors &gt; Custom)</a:t>
            </a:r>
            <a:endParaRPr lang="de-DE" altLang="de-DE" sz="1400">
              <a:latin typeface="VWAG TheSans" panose="020B0502050302020203" pitchFamily="34" charset="0"/>
              <a:sym typeface="VWAG TheSans" panose="020B0502050302020203" pitchFamily="34" charset="0"/>
            </a:endParaRPr>
          </a:p>
        </p:txBody>
      </p:sp>
      <p:sp>
        <p:nvSpPr>
          <p:cNvPr id="6" name="Rectangle 181"/>
          <p:cNvSpPr>
            <a:spLocks noChangeArrowheads="1"/>
          </p:cNvSpPr>
          <p:nvPr userDrawn="1"/>
        </p:nvSpPr>
        <p:spPr bwMode="auto">
          <a:xfrm>
            <a:off x="2343992" y="4730354"/>
            <a:ext cx="1051560" cy="1051147"/>
          </a:xfrm>
          <a:prstGeom prst="roundRect">
            <a:avLst/>
          </a:prstGeom>
          <a:solidFill>
            <a:srgbClr val="F6E5B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a:lnSpc>
                <a:spcPct val="110000"/>
              </a:lnSpc>
              <a:spcAft>
                <a:spcPct val="25000"/>
              </a:spcAft>
              <a:defRPr>
                <a:solidFill>
                  <a:schemeClr val="tx1"/>
                </a:solidFill>
                <a:latin typeface="VWAG TheSans" panose="020B0502050302020203" pitchFamily="34" charset="0"/>
              </a:defRPr>
            </a:lvl1pPr>
            <a:lvl2pPr marL="742950" indent="-285750">
              <a:lnSpc>
                <a:spcPct val="110000"/>
              </a:lnSpc>
              <a:spcAft>
                <a:spcPct val="25000"/>
              </a:spcAft>
              <a:buChar char="•"/>
              <a:defRPr>
                <a:solidFill>
                  <a:schemeClr val="tx1"/>
                </a:solidFill>
                <a:latin typeface="VWAG TheSans" panose="020B0502050302020203" pitchFamily="34" charset="0"/>
              </a:defRPr>
            </a:lvl2pPr>
            <a:lvl3pPr marL="1143000" indent="-228600">
              <a:lnSpc>
                <a:spcPct val="110000"/>
              </a:lnSpc>
              <a:spcAft>
                <a:spcPct val="25000"/>
              </a:spcAft>
              <a:buChar char="•"/>
              <a:defRPr>
                <a:solidFill>
                  <a:schemeClr val="tx1"/>
                </a:solidFill>
                <a:latin typeface="VWAG TheSans" panose="020B0502050302020203" pitchFamily="34" charset="0"/>
              </a:defRPr>
            </a:lvl3pPr>
            <a:lvl4pPr marL="1600200" indent="-228600">
              <a:lnSpc>
                <a:spcPct val="110000"/>
              </a:lnSpc>
              <a:spcAft>
                <a:spcPct val="25000"/>
              </a:spcAft>
              <a:buChar char="•"/>
              <a:defRPr>
                <a:solidFill>
                  <a:schemeClr val="tx1"/>
                </a:solidFill>
                <a:latin typeface="VWAG TheSans" panose="020B0502050302020203" pitchFamily="34" charset="0"/>
              </a:defRPr>
            </a:lvl4pPr>
            <a:lvl5pPr marL="2057400" indent="-228600">
              <a:lnSpc>
                <a:spcPct val="110000"/>
              </a:lnSpc>
              <a:spcAft>
                <a:spcPct val="25000"/>
              </a:spcAft>
              <a:buChar char="•"/>
              <a:defRPr>
                <a:solidFill>
                  <a:schemeClr val="tx1"/>
                </a:solidFill>
                <a:latin typeface="VWAG TheSans" panose="020B0502050302020203" pitchFamily="34" charset="0"/>
              </a:defRPr>
            </a:lvl5pPr>
            <a:lvl6pPr marL="25146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9718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4290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886200" indent="-22860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a:lnSpc>
                <a:spcPct val="90000"/>
              </a:lnSpc>
              <a:spcBef>
                <a:spcPts val="0"/>
              </a:spcBef>
              <a:spcAft>
                <a:spcPts val="0"/>
              </a:spcAft>
            </a:pPr>
            <a:r>
              <a:rPr lang="de-DE" altLang="de-DE" sz="900" b="1">
                <a:latin typeface="VWAG TheSans" panose="020B0502050302020203" pitchFamily="34" charset="0"/>
                <a:ea typeface="MS PGothic" panose="020B0600070205080204" pitchFamily="34" charset="-128"/>
                <a:cs typeface="MS PGothic" panose="020B0600070205080204" pitchFamily="34" charset="-128"/>
                <a:sym typeface="VWAG TheSans" panose="020B0502050302020203" pitchFamily="34" charset="0"/>
              </a:rPr>
              <a:t>VWAG Sand</a:t>
            </a:r>
          </a:p>
          <a:p>
            <a:pPr algn="ctr">
              <a:lnSpc>
                <a:spcPct val="90000"/>
              </a:lnSpc>
              <a:spcBef>
                <a:spcPts val="0"/>
              </a:spcBef>
              <a:spcAft>
                <a:spcPts val="0"/>
              </a:spcAft>
            </a:pPr>
            <a:r>
              <a:rPr lang="de-DE" altLang="de-DE" sz="900" b="1">
                <a:latin typeface="VWAG TheSans" panose="020B0502050302020203" pitchFamily="34" charset="0"/>
                <a:ea typeface="MS PGothic" panose="020B0600070205080204" pitchFamily="34" charset="-128"/>
                <a:cs typeface="MS PGothic" panose="020B0600070205080204" pitchFamily="34" charset="-128"/>
                <a:sym typeface="VWAG TheSans" panose="020B0502050302020203" pitchFamily="34" charset="0"/>
              </a:rPr>
              <a:t>246/229/188</a:t>
            </a:r>
          </a:p>
        </p:txBody>
      </p:sp>
      <p:sp>
        <p:nvSpPr>
          <p:cNvPr id="7" name="Rectangle 182"/>
          <p:cNvSpPr>
            <a:spLocks noChangeArrowheads="1"/>
          </p:cNvSpPr>
          <p:nvPr userDrawn="1"/>
        </p:nvSpPr>
        <p:spPr bwMode="auto">
          <a:xfrm>
            <a:off x="8488662" y="1934783"/>
            <a:ext cx="1051560" cy="1051147"/>
          </a:xfrm>
          <a:prstGeom prst="roundRect">
            <a:avLst/>
          </a:prstGeom>
          <a:solidFill>
            <a:srgbClr val="4C535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VWAG Grey</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76/83/86</a:t>
            </a:r>
          </a:p>
        </p:txBody>
      </p:sp>
      <p:sp>
        <p:nvSpPr>
          <p:cNvPr id="8" name="Rectangle 183"/>
          <p:cNvSpPr>
            <a:spLocks noChangeArrowheads="1"/>
          </p:cNvSpPr>
          <p:nvPr userDrawn="1"/>
        </p:nvSpPr>
        <p:spPr bwMode="auto">
          <a:xfrm>
            <a:off x="3880158" y="3534843"/>
            <a:ext cx="1051560" cy="1051147"/>
          </a:xfrm>
          <a:prstGeom prst="roundRect">
            <a:avLst/>
          </a:prstGeom>
          <a:solidFill>
            <a:srgbClr val="C6DFE7"/>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Petrol light </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198/223/231</a:t>
            </a:r>
          </a:p>
        </p:txBody>
      </p:sp>
      <p:sp>
        <p:nvSpPr>
          <p:cNvPr id="9" name="Rectangle 184"/>
          <p:cNvSpPr>
            <a:spLocks noChangeArrowheads="1"/>
          </p:cNvSpPr>
          <p:nvPr userDrawn="1"/>
        </p:nvSpPr>
        <p:spPr bwMode="auto">
          <a:xfrm>
            <a:off x="807823" y="4730354"/>
            <a:ext cx="1051560" cy="1051147"/>
          </a:xfrm>
          <a:prstGeom prst="roundRect">
            <a:avLst/>
          </a:prstGeom>
          <a:solidFill>
            <a:srgbClr val="D8AA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Orange dark</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216/170/0</a:t>
            </a:r>
          </a:p>
        </p:txBody>
      </p:sp>
      <p:sp>
        <p:nvSpPr>
          <p:cNvPr id="10" name="Rectangle 185"/>
          <p:cNvSpPr>
            <a:spLocks noChangeArrowheads="1"/>
          </p:cNvSpPr>
          <p:nvPr userDrawn="1"/>
        </p:nvSpPr>
        <p:spPr bwMode="auto">
          <a:xfrm>
            <a:off x="3880158" y="4730354"/>
            <a:ext cx="1051560" cy="1051147"/>
          </a:xfrm>
          <a:prstGeom prst="roundRect">
            <a:avLst/>
          </a:prstGeom>
          <a:solidFill>
            <a:srgbClr val="95A84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Green</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149/168/68</a:t>
            </a:r>
          </a:p>
        </p:txBody>
      </p:sp>
      <p:sp>
        <p:nvSpPr>
          <p:cNvPr id="11" name="Rectangle 186"/>
          <p:cNvSpPr>
            <a:spLocks noChangeArrowheads="1"/>
          </p:cNvSpPr>
          <p:nvPr userDrawn="1"/>
        </p:nvSpPr>
        <p:spPr bwMode="auto">
          <a:xfrm>
            <a:off x="5416327" y="4730354"/>
            <a:ext cx="1051560" cy="1051147"/>
          </a:xfrm>
          <a:prstGeom prst="roundRect">
            <a:avLst/>
          </a:prstGeom>
          <a:solidFill>
            <a:srgbClr val="C2CCA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Green light</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194/204/166</a:t>
            </a:r>
          </a:p>
        </p:txBody>
      </p:sp>
      <p:sp>
        <p:nvSpPr>
          <p:cNvPr id="12" name="Rectangle 189"/>
          <p:cNvSpPr>
            <a:spLocks noChangeArrowheads="1"/>
          </p:cNvSpPr>
          <p:nvPr userDrawn="1"/>
        </p:nvSpPr>
        <p:spPr bwMode="auto">
          <a:xfrm>
            <a:off x="2343992" y="3534843"/>
            <a:ext cx="1051560" cy="1051147"/>
          </a:xfrm>
          <a:prstGeom prst="roundRect">
            <a:avLst/>
          </a:prstGeom>
          <a:solidFill>
            <a:srgbClr val="00466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VWAG Petrol</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0/70/102</a:t>
            </a:r>
          </a:p>
        </p:txBody>
      </p:sp>
      <p:sp>
        <p:nvSpPr>
          <p:cNvPr id="13" name="Rectangle 195"/>
          <p:cNvSpPr>
            <a:spLocks noChangeArrowheads="1"/>
          </p:cNvSpPr>
          <p:nvPr userDrawn="1"/>
        </p:nvSpPr>
        <p:spPr bwMode="auto">
          <a:xfrm>
            <a:off x="5416327" y="1934783"/>
            <a:ext cx="1051560" cy="1051147"/>
          </a:xfrm>
          <a:prstGeom prst="roundRect">
            <a:avLst/>
          </a:prstGeom>
          <a:solidFill>
            <a:srgbClr val="A21E4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VWAG Red</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162/30/77</a:t>
            </a:r>
          </a:p>
        </p:txBody>
      </p:sp>
      <p:sp>
        <p:nvSpPr>
          <p:cNvPr id="14" name="Rectangle 187"/>
          <p:cNvSpPr>
            <a:spLocks noChangeArrowheads="1"/>
          </p:cNvSpPr>
          <p:nvPr userDrawn="1"/>
        </p:nvSpPr>
        <p:spPr bwMode="auto">
          <a:xfrm>
            <a:off x="807823" y="3534843"/>
            <a:ext cx="1051560" cy="1051147"/>
          </a:xfrm>
          <a:prstGeom prst="roundRect">
            <a:avLst/>
          </a:prstGeom>
          <a:solidFill>
            <a:srgbClr val="00638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VWAG </a:t>
            </a:r>
          </a:p>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Blue </a:t>
            </a:r>
            <a:r>
              <a:rPr lang="de-DE" altLang="de-DE" sz="900" b="1" err="1">
                <a:solidFill>
                  <a:schemeClr val="bg1"/>
                </a:solidFill>
                <a:latin typeface="VWAG TheSans" panose="020B0502050302020203" pitchFamily="34" charset="0"/>
                <a:sym typeface="VWAG TheSans" panose="020B0502050302020203" pitchFamily="34" charset="0"/>
              </a:rPr>
              <a:t>dark</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0/99/132</a:t>
            </a:r>
          </a:p>
        </p:txBody>
      </p:sp>
      <p:sp>
        <p:nvSpPr>
          <p:cNvPr id="15" name="Rectangle 188"/>
          <p:cNvSpPr>
            <a:spLocks noChangeArrowheads="1"/>
          </p:cNvSpPr>
          <p:nvPr userDrawn="1"/>
        </p:nvSpPr>
        <p:spPr bwMode="auto">
          <a:xfrm>
            <a:off x="2343992" y="1934783"/>
            <a:ext cx="1051560" cy="1051147"/>
          </a:xfrm>
          <a:prstGeom prst="roundRect">
            <a:avLst/>
          </a:prstGeom>
          <a:solidFill>
            <a:schemeClr val="accent6">
              <a:lumMod val="10000"/>
            </a:schemeClr>
          </a:solidFill>
          <a:ln>
            <a:noFill/>
          </a:ln>
          <a:effec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Black</a:t>
            </a:r>
          </a:p>
        </p:txBody>
      </p:sp>
      <p:sp>
        <p:nvSpPr>
          <p:cNvPr id="16" name="Rectangle 190"/>
          <p:cNvSpPr>
            <a:spLocks noChangeArrowheads="1"/>
          </p:cNvSpPr>
          <p:nvPr userDrawn="1"/>
        </p:nvSpPr>
        <p:spPr bwMode="auto">
          <a:xfrm>
            <a:off x="807823" y="1934783"/>
            <a:ext cx="1051560" cy="1051147"/>
          </a:xfrm>
          <a:prstGeom prst="roundRect">
            <a:avLst/>
          </a:prstGeom>
          <a:noFill/>
          <a:ln w="9525" algn="ctr">
            <a:solidFill>
              <a:schemeClr val="tx1"/>
            </a:solidFill>
            <a:miter lim="800000"/>
            <a:headEnd/>
            <a:tailEnd/>
          </a:ln>
          <a:effectLst/>
          <a:extLst>
            <a:ext uri="{909E8E84-426E-40DD-AFC4-6F175D3DCCD1}">
              <a14:hiddenFill xmlns:a14="http://schemas.microsoft.com/office/drawing/2010/main">
                <a:solidFill>
                  <a:srgbClr val="006384"/>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White</a:t>
            </a:r>
          </a:p>
        </p:txBody>
      </p:sp>
      <p:sp>
        <p:nvSpPr>
          <p:cNvPr id="17" name="Rectangle 191"/>
          <p:cNvSpPr>
            <a:spLocks noChangeArrowheads="1"/>
          </p:cNvSpPr>
          <p:nvPr userDrawn="1"/>
        </p:nvSpPr>
        <p:spPr bwMode="auto">
          <a:xfrm>
            <a:off x="6952495" y="3534843"/>
            <a:ext cx="1051560" cy="1051147"/>
          </a:xfrm>
          <a:prstGeom prst="roundRect">
            <a:avLst/>
          </a:prstGeom>
          <a:solidFill>
            <a:srgbClr val="80B0C8"/>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Blue light</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128/176/200</a:t>
            </a:r>
          </a:p>
        </p:txBody>
      </p:sp>
      <p:sp>
        <p:nvSpPr>
          <p:cNvPr id="18" name="Rectangle 192"/>
          <p:cNvSpPr>
            <a:spLocks noChangeArrowheads="1"/>
          </p:cNvSpPr>
          <p:nvPr userDrawn="1"/>
        </p:nvSpPr>
        <p:spPr bwMode="auto">
          <a:xfrm>
            <a:off x="5416327" y="3534843"/>
            <a:ext cx="1051560" cy="1051147"/>
          </a:xfrm>
          <a:prstGeom prst="roundRect">
            <a:avLst/>
          </a:prstGeom>
          <a:solidFill>
            <a:srgbClr val="00336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PowerPoint- </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Blau</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0/51/102</a:t>
            </a:r>
          </a:p>
        </p:txBody>
      </p:sp>
      <p:sp>
        <p:nvSpPr>
          <p:cNvPr id="19" name="Rectangle 193"/>
          <p:cNvSpPr>
            <a:spLocks noChangeArrowheads="1"/>
          </p:cNvSpPr>
          <p:nvPr userDrawn="1"/>
        </p:nvSpPr>
        <p:spPr bwMode="auto">
          <a:xfrm>
            <a:off x="10024830" y="1934783"/>
            <a:ext cx="1051560" cy="1051147"/>
          </a:xfrm>
          <a:prstGeom prst="roundRect">
            <a:avLst/>
          </a:prstGeom>
          <a:solidFill>
            <a:srgbClr val="A8ADB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338138" indent="-188913" defTabSz="674688">
              <a:lnSpc>
                <a:spcPct val="110000"/>
              </a:lnSpc>
              <a:spcAft>
                <a:spcPct val="25000"/>
              </a:spcAft>
              <a:buChar char="•"/>
              <a:defRPr>
                <a:solidFill>
                  <a:schemeClr val="tx1"/>
                </a:solidFill>
                <a:latin typeface="VWAG TheSans" panose="020B0502050302020203" pitchFamily="34" charset="0"/>
              </a:defRPr>
            </a:lvl2pPr>
            <a:lvl3pPr marL="674688" indent="-188913" defTabSz="674688">
              <a:lnSpc>
                <a:spcPct val="110000"/>
              </a:lnSpc>
              <a:spcAft>
                <a:spcPct val="25000"/>
              </a:spcAft>
              <a:buChar char="•"/>
              <a:defRPr>
                <a:solidFill>
                  <a:schemeClr val="tx1"/>
                </a:solidFill>
                <a:latin typeface="VWAG TheSans" panose="020B0502050302020203" pitchFamily="34" charset="0"/>
              </a:defRPr>
            </a:lvl3pPr>
            <a:lvl4pPr marL="1012825" indent="-188913" defTabSz="674688">
              <a:lnSpc>
                <a:spcPct val="110000"/>
              </a:lnSpc>
              <a:spcAft>
                <a:spcPct val="25000"/>
              </a:spcAft>
              <a:buChar char="•"/>
              <a:defRPr>
                <a:solidFill>
                  <a:schemeClr val="tx1"/>
                </a:solidFill>
                <a:latin typeface="VWAG TheSans" panose="020B0502050302020203" pitchFamily="34" charset="0"/>
              </a:defRPr>
            </a:lvl4pPr>
            <a:lvl5pPr marL="1349375" indent="-188913" defTabSz="674688">
              <a:lnSpc>
                <a:spcPct val="110000"/>
              </a:lnSpc>
              <a:spcAft>
                <a:spcPct val="25000"/>
              </a:spcAft>
              <a:buChar char="•"/>
              <a:defRPr>
                <a:solidFill>
                  <a:schemeClr val="tx1"/>
                </a:solidFill>
                <a:latin typeface="VWAG TheSans" panose="020B0502050302020203" pitchFamily="34" charset="0"/>
              </a:defRPr>
            </a:lvl5pPr>
            <a:lvl6pPr marL="18065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2637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27209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178175" indent="-188913"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Silver</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168/173/179</a:t>
            </a:r>
          </a:p>
        </p:txBody>
      </p:sp>
      <p:sp>
        <p:nvSpPr>
          <p:cNvPr id="20" name="Rectangle 194"/>
          <p:cNvSpPr>
            <a:spLocks noChangeArrowheads="1"/>
          </p:cNvSpPr>
          <p:nvPr userDrawn="1"/>
        </p:nvSpPr>
        <p:spPr bwMode="auto">
          <a:xfrm>
            <a:off x="6952495" y="1934783"/>
            <a:ext cx="1051560" cy="1051147"/>
          </a:xfrm>
          <a:prstGeom prst="roundRect">
            <a:avLst/>
          </a:prstGeom>
          <a:solidFill>
            <a:srgbClr val="5F193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solidFill>
                  <a:schemeClr val="bg1"/>
                </a:solidFill>
                <a:latin typeface="VWAG TheSans" panose="020B0502050302020203" pitchFamily="34" charset="0"/>
                <a:sym typeface="VWAG TheSans" panose="020B0502050302020203" pitchFamily="34" charset="0"/>
              </a:rPr>
              <a:t>VWAG </a:t>
            </a:r>
            <a:r>
              <a:rPr lang="de-DE" altLang="de-DE" sz="900" b="1" err="1">
                <a:solidFill>
                  <a:schemeClr val="bg1"/>
                </a:solidFill>
                <a:latin typeface="VWAG TheSans" panose="020B0502050302020203" pitchFamily="34" charset="0"/>
                <a:sym typeface="VWAG TheSans" panose="020B0502050302020203" pitchFamily="34" charset="0"/>
              </a:rPr>
              <a:t>Red</a:t>
            </a:r>
            <a:r>
              <a:rPr lang="de-DE" altLang="de-DE" sz="900" b="1">
                <a:solidFill>
                  <a:schemeClr val="bg1"/>
                </a:solidFill>
                <a:latin typeface="VWAG TheSans" panose="020B0502050302020203" pitchFamily="34" charset="0"/>
                <a:sym typeface="VWAG TheSans" panose="020B0502050302020203" pitchFamily="34" charset="0"/>
              </a:rPr>
              <a:t> </a:t>
            </a:r>
            <a:r>
              <a:rPr lang="de-DE" altLang="de-DE" sz="900" b="1" err="1">
                <a:solidFill>
                  <a:schemeClr val="bg1"/>
                </a:solidFill>
                <a:latin typeface="VWAG TheSans" panose="020B0502050302020203" pitchFamily="34" charset="0"/>
                <a:sym typeface="VWAG TheSans" panose="020B0502050302020203" pitchFamily="34" charset="0"/>
              </a:rPr>
              <a:t>dark</a:t>
            </a:r>
            <a:br>
              <a:rPr lang="de-DE" altLang="de-DE" sz="900" b="1">
                <a:solidFill>
                  <a:schemeClr val="bg1"/>
                </a:solidFill>
                <a:latin typeface="VWAG TheSans" panose="020B0502050302020203" pitchFamily="34" charset="0"/>
                <a:sym typeface="VWAG TheSans" panose="020B0502050302020203" pitchFamily="34" charset="0"/>
              </a:rPr>
            </a:br>
            <a:r>
              <a:rPr lang="de-DE" altLang="de-DE" sz="900" b="1">
                <a:solidFill>
                  <a:schemeClr val="bg1"/>
                </a:solidFill>
                <a:latin typeface="VWAG TheSans" panose="020B0502050302020203" pitchFamily="34" charset="0"/>
                <a:sym typeface="VWAG TheSans" panose="020B0502050302020203" pitchFamily="34" charset="0"/>
              </a:rPr>
              <a:t>95/25/57</a:t>
            </a:r>
          </a:p>
        </p:txBody>
      </p:sp>
      <p:sp>
        <p:nvSpPr>
          <p:cNvPr id="21" name="Rectangle 196"/>
          <p:cNvSpPr>
            <a:spLocks noChangeArrowheads="1"/>
          </p:cNvSpPr>
          <p:nvPr userDrawn="1"/>
        </p:nvSpPr>
        <p:spPr bwMode="auto">
          <a:xfrm>
            <a:off x="3880158" y="1934783"/>
            <a:ext cx="1051560" cy="1051147"/>
          </a:xfrm>
          <a:prstGeom prst="roundRect">
            <a:avLst/>
          </a:prstGeom>
          <a:solidFill>
            <a:srgbClr val="D4D6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1839" tIns="35920" rIns="71839" bIns="35920" anchor="ctr"/>
          <a:lstStyle>
            <a:lvl1pPr defTabSz="958850">
              <a:lnSpc>
                <a:spcPct val="110000"/>
              </a:lnSpc>
              <a:spcAft>
                <a:spcPct val="25000"/>
              </a:spcAft>
              <a:defRPr>
                <a:solidFill>
                  <a:schemeClr val="tx1"/>
                </a:solidFill>
                <a:latin typeface="VWAG TheSans" panose="020B0502050302020203" pitchFamily="34" charset="0"/>
              </a:defRPr>
            </a:lvl1pPr>
            <a:lvl2pPr marL="479425" indent="-188913" defTabSz="958850">
              <a:lnSpc>
                <a:spcPct val="110000"/>
              </a:lnSpc>
              <a:spcAft>
                <a:spcPct val="25000"/>
              </a:spcAft>
              <a:buChar char="•"/>
              <a:defRPr>
                <a:solidFill>
                  <a:schemeClr val="tx1"/>
                </a:solidFill>
                <a:latin typeface="VWAG TheSans" panose="020B0502050302020203" pitchFamily="34" charset="0"/>
              </a:defRPr>
            </a:lvl2pPr>
            <a:lvl3pPr marL="958850" indent="-188913" defTabSz="958850">
              <a:lnSpc>
                <a:spcPct val="110000"/>
              </a:lnSpc>
              <a:spcAft>
                <a:spcPct val="25000"/>
              </a:spcAft>
              <a:buChar char="•"/>
              <a:defRPr>
                <a:solidFill>
                  <a:schemeClr val="tx1"/>
                </a:solidFill>
                <a:latin typeface="VWAG TheSans" panose="020B0502050302020203" pitchFamily="34" charset="0"/>
              </a:defRPr>
            </a:lvl3pPr>
            <a:lvl4pPr marL="1436688" indent="-188913" defTabSz="958850">
              <a:lnSpc>
                <a:spcPct val="110000"/>
              </a:lnSpc>
              <a:spcAft>
                <a:spcPct val="25000"/>
              </a:spcAft>
              <a:buChar char="•"/>
              <a:defRPr>
                <a:solidFill>
                  <a:schemeClr val="tx1"/>
                </a:solidFill>
                <a:latin typeface="VWAG TheSans" panose="020B0502050302020203" pitchFamily="34" charset="0"/>
              </a:defRPr>
            </a:lvl4pPr>
            <a:lvl5pPr marL="1916113" indent="-188913" defTabSz="958850">
              <a:lnSpc>
                <a:spcPct val="110000"/>
              </a:lnSpc>
              <a:spcAft>
                <a:spcPct val="25000"/>
              </a:spcAft>
              <a:buChar char="•"/>
              <a:defRPr>
                <a:solidFill>
                  <a:schemeClr val="tx1"/>
                </a:solidFill>
                <a:latin typeface="VWAG TheSans" panose="020B0502050302020203" pitchFamily="34" charset="0"/>
              </a:defRPr>
            </a:lvl5pPr>
            <a:lvl6pPr marL="23733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8305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2877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744913" indent="-188913" defTabSz="958850"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VWAG </a:t>
            </a:r>
            <a:r>
              <a:rPr lang="de-DE" altLang="de-DE" sz="900" b="1" err="1">
                <a:latin typeface="VWAG TheSans" panose="020B0502050302020203" pitchFamily="34" charset="0"/>
                <a:sym typeface="VWAG TheSans" panose="020B0502050302020203" pitchFamily="34" charset="0"/>
              </a:rPr>
              <a:t>Silver</a:t>
            </a:r>
            <a:r>
              <a:rPr lang="de-DE" altLang="de-DE" sz="900" b="1">
                <a:latin typeface="VWAG TheSans" panose="020B0502050302020203" pitchFamily="34" charset="0"/>
                <a:sym typeface="VWAG TheSans" panose="020B0502050302020203" pitchFamily="34" charset="0"/>
              </a:rPr>
              <a:t> </a:t>
            </a:r>
          </a:p>
          <a:p>
            <a:pPr algn="ctr" eaLnBrk="1" hangingPunct="1">
              <a:lnSpc>
                <a:spcPct val="90000"/>
              </a:lnSpc>
              <a:spcBef>
                <a:spcPts val="0"/>
              </a:spcBef>
              <a:spcAft>
                <a:spcPts val="0"/>
              </a:spcAft>
            </a:pPr>
            <a:r>
              <a:rPr lang="de-DE" altLang="de-DE" sz="900" b="1">
                <a:latin typeface="VWAG TheSans" panose="020B0502050302020203" pitchFamily="34" charset="0"/>
                <a:sym typeface="VWAG TheSans" panose="020B0502050302020203" pitchFamily="34" charset="0"/>
              </a:rPr>
              <a:t>50%</a:t>
            </a:r>
            <a:br>
              <a:rPr lang="de-DE" altLang="de-DE" sz="900" b="1">
                <a:latin typeface="VWAG TheSans" panose="020B0502050302020203" pitchFamily="34" charset="0"/>
                <a:sym typeface="VWAG TheSans" panose="020B0502050302020203" pitchFamily="34" charset="0"/>
              </a:rPr>
            </a:br>
            <a:r>
              <a:rPr lang="de-DE" altLang="de-DE" sz="900" b="1">
                <a:latin typeface="VWAG TheSans" panose="020B0502050302020203" pitchFamily="34" charset="0"/>
                <a:sym typeface="VWAG TheSans" panose="020B0502050302020203" pitchFamily="34" charset="0"/>
              </a:rPr>
              <a:t>212/214/217</a:t>
            </a:r>
          </a:p>
        </p:txBody>
      </p:sp>
      <p:sp>
        <p:nvSpPr>
          <p:cNvPr id="22" name="Rechteck 1"/>
          <p:cNvSpPr>
            <a:spLocks noChangeArrowheads="1"/>
          </p:cNvSpPr>
          <p:nvPr userDrawn="1"/>
        </p:nvSpPr>
        <p:spPr bwMode="auto">
          <a:xfrm>
            <a:off x="6781800" y="1295230"/>
            <a:ext cx="1399760" cy="451503"/>
          </a:xfrm>
          <a:prstGeom prst="roundRect">
            <a:avLst>
              <a:gd name="adj" fmla="val 50000"/>
            </a:avLst>
          </a:prstGeom>
          <a:solidFill>
            <a:srgbClr val="004666"/>
          </a:solidFill>
          <a:ln>
            <a:noFill/>
          </a:ln>
          <a:effec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742950" indent="-285750" defTabSz="674688">
              <a:lnSpc>
                <a:spcPct val="110000"/>
              </a:lnSpc>
              <a:spcAft>
                <a:spcPct val="25000"/>
              </a:spcAft>
              <a:buChar char="•"/>
              <a:defRPr>
                <a:solidFill>
                  <a:schemeClr val="tx1"/>
                </a:solidFill>
                <a:latin typeface="VWAG TheSans" panose="020B0502050302020203" pitchFamily="34" charset="0"/>
              </a:defRPr>
            </a:lvl2pPr>
            <a:lvl3pPr marL="1143000" indent="-228600" defTabSz="674688">
              <a:lnSpc>
                <a:spcPct val="110000"/>
              </a:lnSpc>
              <a:spcAft>
                <a:spcPct val="25000"/>
              </a:spcAft>
              <a:buChar char="•"/>
              <a:defRPr>
                <a:solidFill>
                  <a:schemeClr val="tx1"/>
                </a:solidFill>
                <a:latin typeface="VWAG TheSans" panose="020B0502050302020203" pitchFamily="34" charset="0"/>
              </a:defRPr>
            </a:lvl3pPr>
            <a:lvl4pPr marL="1600200" indent="-228600" defTabSz="674688">
              <a:lnSpc>
                <a:spcPct val="110000"/>
              </a:lnSpc>
              <a:spcAft>
                <a:spcPct val="25000"/>
              </a:spcAft>
              <a:buChar char="•"/>
              <a:defRPr>
                <a:solidFill>
                  <a:schemeClr val="tx1"/>
                </a:solidFill>
                <a:latin typeface="VWAG TheSans" panose="020B0502050302020203" pitchFamily="34" charset="0"/>
              </a:defRPr>
            </a:lvl4pPr>
            <a:lvl5pPr marL="2057400" indent="-228600" defTabSz="674688">
              <a:lnSpc>
                <a:spcPct val="110000"/>
              </a:lnSpc>
              <a:spcAft>
                <a:spcPct val="25000"/>
              </a:spcAft>
              <a:buChar char="•"/>
              <a:defRPr>
                <a:solidFill>
                  <a:schemeClr val="tx1"/>
                </a:solidFill>
                <a:latin typeface="VWAG TheSans" panose="020B0502050302020203" pitchFamily="34" charset="0"/>
              </a:defRPr>
            </a:lvl5pPr>
            <a:lvl6pPr marL="25146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9718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4290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8862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r>
              <a:rPr lang="de-DE" altLang="en-US" sz="1000" b="1">
                <a:solidFill>
                  <a:schemeClr val="bg1"/>
                </a:solidFill>
                <a:latin typeface="VWAG TheSans" panose="020B0502050302020203" pitchFamily="34" charset="0"/>
                <a:sym typeface="VWAG TheSans" panose="020B0502050302020203" pitchFamily="34" charset="0"/>
              </a:rPr>
              <a:t>Primary </a:t>
            </a:r>
            <a:r>
              <a:rPr lang="de-DE" altLang="en-US" sz="1000" b="1" err="1">
                <a:solidFill>
                  <a:schemeClr val="bg1"/>
                </a:solidFill>
                <a:latin typeface="VWAG TheSans" panose="020B0502050302020203" pitchFamily="34" charset="0"/>
                <a:sym typeface="VWAG TheSans" panose="020B0502050302020203" pitchFamily="34" charset="0"/>
              </a:rPr>
              <a:t>color</a:t>
            </a:r>
            <a:endParaRPr lang="de-DE" altLang="en-US" sz="1000" b="1">
              <a:solidFill>
                <a:schemeClr val="bg1"/>
              </a:solidFill>
              <a:latin typeface="VWAG TheSans" panose="020B0502050302020203" pitchFamily="34" charset="0"/>
              <a:sym typeface="VWAG TheSans" panose="020B0502050302020203" pitchFamily="34" charset="0"/>
            </a:endParaRPr>
          </a:p>
          <a:p>
            <a:pPr algn="ctr" eaLnBrk="1" hangingPunct="1">
              <a:lnSpc>
                <a:spcPct val="90000"/>
              </a:lnSpc>
              <a:spcBef>
                <a:spcPts val="0"/>
              </a:spcBef>
              <a:spcAft>
                <a:spcPts val="0"/>
              </a:spcAft>
            </a:pPr>
            <a:r>
              <a:rPr lang="de-DE" altLang="en-US" sz="1000" b="1">
                <a:solidFill>
                  <a:schemeClr val="bg1"/>
                </a:solidFill>
                <a:latin typeface="VWAG TheSans" panose="020B0502050302020203" pitchFamily="34" charset="0"/>
                <a:sym typeface="VWAG TheSans" panose="020B0502050302020203" pitchFamily="34" charset="0"/>
              </a:rPr>
              <a:t>VWITS</a:t>
            </a:r>
          </a:p>
        </p:txBody>
      </p:sp>
      <p:sp>
        <p:nvSpPr>
          <p:cNvPr id="31" name="Footer Placeholder 30"/>
          <p:cNvSpPr>
            <a:spLocks noGrp="1"/>
          </p:cNvSpPr>
          <p:nvPr>
            <p:ph type="ftr" sz="quarter" idx="10"/>
          </p:nvPr>
        </p:nvSpPr>
        <p:spPr/>
        <p:txBody>
          <a:bodyPr/>
          <a:lstStyle>
            <a:lvl1pPr>
              <a:defRPr>
                <a:latin typeface="VWAG TheSans" panose="020B0502050302020203" pitchFamily="34" charset="0"/>
                <a:sym typeface="VWAG TheSans" panose="020B0502050302020203" pitchFamily="34" charset="0"/>
              </a:defRPr>
            </a:lvl1pPr>
          </a:lstStyle>
          <a:p>
            <a:r>
              <a:rPr lang="en-US"/>
              <a:t>&lt; Insert Subject &gt;</a:t>
            </a:r>
          </a:p>
        </p:txBody>
      </p:sp>
      <p:sp>
        <p:nvSpPr>
          <p:cNvPr id="25" name="Rechteck 1"/>
          <p:cNvSpPr>
            <a:spLocks noChangeArrowheads="1"/>
          </p:cNvSpPr>
          <p:nvPr userDrawn="1"/>
        </p:nvSpPr>
        <p:spPr bwMode="auto">
          <a:xfrm>
            <a:off x="6781800" y="1295230"/>
            <a:ext cx="1399760" cy="2057570"/>
          </a:xfrm>
          <a:prstGeom prst="roundRect">
            <a:avLst/>
          </a:prstGeom>
          <a:noFill/>
          <a:ln w="19050">
            <a:solidFill>
              <a:srgbClr val="004666"/>
            </a:solidFill>
          </a:ln>
          <a:effectLst/>
        </p:spPr>
        <p:txBody>
          <a:bodyPr wrap="none" lIns="50612" tIns="25306" rIns="50612" bIns="25306" anchor="ctr"/>
          <a:lstStyle>
            <a:lvl1pPr defTabSz="674688">
              <a:lnSpc>
                <a:spcPct val="110000"/>
              </a:lnSpc>
              <a:spcAft>
                <a:spcPct val="25000"/>
              </a:spcAft>
              <a:defRPr>
                <a:solidFill>
                  <a:schemeClr val="tx1"/>
                </a:solidFill>
                <a:latin typeface="VWAG TheSans" panose="020B0502050302020203" pitchFamily="34" charset="0"/>
              </a:defRPr>
            </a:lvl1pPr>
            <a:lvl2pPr marL="742950" indent="-285750" defTabSz="674688">
              <a:lnSpc>
                <a:spcPct val="110000"/>
              </a:lnSpc>
              <a:spcAft>
                <a:spcPct val="25000"/>
              </a:spcAft>
              <a:buChar char="•"/>
              <a:defRPr>
                <a:solidFill>
                  <a:schemeClr val="tx1"/>
                </a:solidFill>
                <a:latin typeface="VWAG TheSans" panose="020B0502050302020203" pitchFamily="34" charset="0"/>
              </a:defRPr>
            </a:lvl2pPr>
            <a:lvl3pPr marL="1143000" indent="-228600" defTabSz="674688">
              <a:lnSpc>
                <a:spcPct val="110000"/>
              </a:lnSpc>
              <a:spcAft>
                <a:spcPct val="25000"/>
              </a:spcAft>
              <a:buChar char="•"/>
              <a:defRPr>
                <a:solidFill>
                  <a:schemeClr val="tx1"/>
                </a:solidFill>
                <a:latin typeface="VWAG TheSans" panose="020B0502050302020203" pitchFamily="34" charset="0"/>
              </a:defRPr>
            </a:lvl3pPr>
            <a:lvl4pPr marL="1600200" indent="-228600" defTabSz="674688">
              <a:lnSpc>
                <a:spcPct val="110000"/>
              </a:lnSpc>
              <a:spcAft>
                <a:spcPct val="25000"/>
              </a:spcAft>
              <a:buChar char="•"/>
              <a:defRPr>
                <a:solidFill>
                  <a:schemeClr val="tx1"/>
                </a:solidFill>
                <a:latin typeface="VWAG TheSans" panose="020B0502050302020203" pitchFamily="34" charset="0"/>
              </a:defRPr>
            </a:lvl4pPr>
            <a:lvl5pPr marL="2057400" indent="-228600" defTabSz="674688">
              <a:lnSpc>
                <a:spcPct val="110000"/>
              </a:lnSpc>
              <a:spcAft>
                <a:spcPct val="25000"/>
              </a:spcAft>
              <a:buChar char="•"/>
              <a:defRPr>
                <a:solidFill>
                  <a:schemeClr val="tx1"/>
                </a:solidFill>
                <a:latin typeface="VWAG TheSans" panose="020B0502050302020203" pitchFamily="34" charset="0"/>
              </a:defRPr>
            </a:lvl5pPr>
            <a:lvl6pPr marL="25146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6pPr>
            <a:lvl7pPr marL="29718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7pPr>
            <a:lvl8pPr marL="34290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8pPr>
            <a:lvl9pPr marL="3886200" indent="-228600" defTabSz="674688" eaLnBrk="0" fontAlgn="base" hangingPunct="0">
              <a:lnSpc>
                <a:spcPct val="110000"/>
              </a:lnSpc>
              <a:spcBef>
                <a:spcPct val="0"/>
              </a:spcBef>
              <a:spcAft>
                <a:spcPct val="25000"/>
              </a:spcAft>
              <a:buChar char="•"/>
              <a:defRPr>
                <a:solidFill>
                  <a:schemeClr val="tx1"/>
                </a:solidFill>
                <a:latin typeface="VWAG TheSans" panose="020B0502050302020203" pitchFamily="34" charset="0"/>
              </a:defRPr>
            </a:lvl9pPr>
          </a:lstStyle>
          <a:p>
            <a:pPr algn="ctr" eaLnBrk="1" hangingPunct="1">
              <a:lnSpc>
                <a:spcPct val="90000"/>
              </a:lnSpc>
              <a:spcBef>
                <a:spcPts val="0"/>
              </a:spcBef>
              <a:spcAft>
                <a:spcPts val="0"/>
              </a:spcAft>
            </a:pPr>
            <a:endParaRPr lang="de-DE" altLang="en-US" sz="1000" b="1">
              <a:solidFill>
                <a:schemeClr val="bg1"/>
              </a:solidFill>
              <a:latin typeface="VWAG TheSans" panose="020B0502050302020203" pitchFamily="34" charset="0"/>
              <a:sym typeface="VWAG TheSans" panose="020B0502050302020203" pitchFamily="34" charset="0"/>
            </a:endParaRPr>
          </a:p>
        </p:txBody>
      </p:sp>
    </p:spTree>
    <p:extLst>
      <p:ext uri="{BB962C8B-B14F-4D97-AF65-F5344CB8AC3E}">
        <p14:creationId xmlns:p14="http://schemas.microsoft.com/office/powerpoint/2010/main" val="10984879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Subtitle_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12192000" cy="6400800"/>
          </a:xfrm>
          <a:prstGeom prst="rect">
            <a:avLst/>
          </a:prstGeom>
        </p:spPr>
      </p:pic>
      <p:sp>
        <p:nvSpPr>
          <p:cNvPr id="16" name="bg object 16"/>
          <p:cNvSpPr/>
          <p:nvPr userDrawn="1"/>
        </p:nvSpPr>
        <p:spPr>
          <a:xfrm>
            <a:off x="0" y="0"/>
            <a:ext cx="12192000" cy="6400799"/>
          </a:xfrm>
          <a:prstGeom prst="rect">
            <a:avLst/>
          </a:prstGeom>
          <a:gradFill flip="none" rotWithShape="1">
            <a:gsLst>
              <a:gs pos="38000">
                <a:srgbClr val="573059">
                  <a:alpha val="40000"/>
                </a:srgbClr>
              </a:gs>
              <a:gs pos="0">
                <a:srgbClr val="A21E4D">
                  <a:lumMod val="79000"/>
                  <a:alpha val="88000"/>
                </a:srgbClr>
              </a:gs>
              <a:gs pos="100000">
                <a:srgbClr val="004666">
                  <a:alpha val="86000"/>
                </a:srgbClr>
              </a:gs>
            </a:gsLst>
            <a:path path="circle">
              <a:fillToRect l="100000" t="100000"/>
            </a:path>
            <a:tileRect r="-100000" b="-100000"/>
          </a:gradFill>
        </p:spPr>
        <p:txBody>
          <a:bodyPr wrap="square" lIns="0" tIns="0" rIns="0" bIns="0" rtlCol="0"/>
          <a:lstStyle/>
          <a:p>
            <a:endParaRPr/>
          </a:p>
        </p:txBody>
      </p:sp>
      <p:sp>
        <p:nvSpPr>
          <p:cNvPr id="3" name="TextBox 2"/>
          <p:cNvSpPr txBox="1"/>
          <p:nvPr userDrawn="1"/>
        </p:nvSpPr>
        <p:spPr>
          <a:xfrm>
            <a:off x="3238500" y="3186113"/>
            <a:ext cx="5715000" cy="1062020"/>
          </a:xfrm>
          <a:prstGeom prst="rect">
            <a:avLst/>
          </a:prstGeom>
          <a:noFill/>
          <a:ln>
            <a:noFill/>
          </a:ln>
        </p:spPr>
        <p:txBody>
          <a:bodyPr wrap="square" rtlCol="0" anchor="t" anchorCtr="0">
            <a:noAutofit/>
          </a:bodyPr>
          <a:lstStyle/>
          <a:p>
            <a:pPr algn="ctr">
              <a:spcBef>
                <a:spcPts val="0"/>
              </a:spcBef>
            </a:pPr>
            <a:r>
              <a:rPr lang="en-US" sz="6600" b="1">
                <a:solidFill>
                  <a:schemeClr val="bg1"/>
                </a:solidFill>
                <a:latin typeface="+mj-lt"/>
              </a:rPr>
              <a:t>THANK YOU</a:t>
            </a:r>
          </a:p>
        </p:txBody>
      </p:sp>
      <p:sp>
        <p:nvSpPr>
          <p:cNvPr id="20" name="Freeform 19"/>
          <p:cNvSpPr/>
          <p:nvPr userDrawn="1"/>
        </p:nvSpPr>
        <p:spPr bwMode="auto">
          <a:xfrm rot="5400000" flipH="1">
            <a:off x="6073141" y="-1870724"/>
            <a:ext cx="45719"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
        <p:nvSpPr>
          <p:cNvPr id="21" name="Freeform 20"/>
          <p:cNvSpPr/>
          <p:nvPr userDrawn="1"/>
        </p:nvSpPr>
        <p:spPr bwMode="auto">
          <a:xfrm rot="5400000" flipH="1">
            <a:off x="6073140" y="281941"/>
            <a:ext cx="45719"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Tree>
    <p:extLst>
      <p:ext uri="{BB962C8B-B14F-4D97-AF65-F5344CB8AC3E}">
        <p14:creationId xmlns:p14="http://schemas.microsoft.com/office/powerpoint/2010/main" val="2636843232"/>
      </p:ext>
    </p:extLst>
  </p:cSld>
  <p:clrMapOvr>
    <a:masterClrMapping/>
  </p:clrMapOvr>
  <p:extLst>
    <p:ext uri="{DCECCB84-F9BA-43D5-87BE-67443E8EF086}">
      <p15:sldGuideLst xmlns:p15="http://schemas.microsoft.com/office/powerpoint/2012/main">
        <p15:guide id="1" pos="192">
          <p15:clr>
            <a:srgbClr val="FBAE40"/>
          </p15:clr>
        </p15:guide>
        <p15:guide id="2" orient="horz" pos="4176">
          <p15:clr>
            <a:srgbClr val="FBAE40"/>
          </p15:clr>
        </p15:guide>
        <p15:guide id="3" orient="horz" pos="432">
          <p15:clr>
            <a:srgbClr val="FBAE40"/>
          </p15:clr>
        </p15:guide>
        <p15:guide id="4" pos="7536">
          <p15:clr>
            <a:srgbClr val="FBAE40"/>
          </p15:clr>
        </p15:guide>
        <p15:guide id="5" orient="horz" pos="2160">
          <p15:clr>
            <a:srgbClr val="FBAE40"/>
          </p15:clr>
        </p15:guide>
        <p15:guide id="6"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3AF7D15-C5EC-B7EF-11C9-8D5D1C5D64A7}"/>
              </a:ext>
            </a:extLst>
          </p:cNvPr>
          <p:cNvGrpSpPr/>
          <p:nvPr userDrawn="1"/>
        </p:nvGrpSpPr>
        <p:grpSpPr>
          <a:xfrm>
            <a:off x="2155100" y="3164986"/>
            <a:ext cx="7920000" cy="540000"/>
            <a:chOff x="2155100" y="3164986"/>
            <a:chExt cx="7920000" cy="540000"/>
          </a:xfrm>
        </p:grpSpPr>
        <p:sp>
          <p:nvSpPr>
            <p:cNvPr id="6" name="Rectangle 5">
              <a:extLst>
                <a:ext uri="{FF2B5EF4-FFF2-40B4-BE49-F238E27FC236}">
                  <a16:creationId xmlns:a16="http://schemas.microsoft.com/office/drawing/2014/main" id="{6709D60E-82B8-468E-45D8-48519A6C5C11}"/>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tx1"/>
                </a:solidFill>
              </a:endParaRPr>
            </a:p>
          </p:txBody>
        </p:sp>
        <p:pic>
          <p:nvPicPr>
            <p:cNvPr id="10" name="Picture 4">
              <a:extLst>
                <a:ext uri="{FF2B5EF4-FFF2-40B4-BE49-F238E27FC236}">
                  <a16:creationId xmlns:a16="http://schemas.microsoft.com/office/drawing/2014/main" id="{5E45D632-0C65-5D46-F746-CCEA22BBC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2209800" y="3218498"/>
              <a:ext cx="7772400" cy="421005"/>
            </a:xfrm>
            <a:prstGeom prst="rect">
              <a:avLst/>
            </a:prstGeom>
          </p:spPr>
        </p:pic>
      </p:grpSp>
    </p:spTree>
    <p:extLst>
      <p:ext uri="{BB962C8B-B14F-4D97-AF65-F5344CB8AC3E}">
        <p14:creationId xmlns:p14="http://schemas.microsoft.com/office/powerpoint/2010/main" val="336011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917606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a:extLst>
              <a:ext uri="{FF2B5EF4-FFF2-40B4-BE49-F238E27FC236}">
                <a16:creationId xmlns:a16="http://schemas.microsoft.com/office/drawing/2014/main" id="{2909720B-E69F-DC75-F3E5-96D06ACC4EE7}"/>
              </a:ext>
            </a:extLst>
          </p:cNvPr>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a:extLst>
              <a:ext uri="{FF2B5EF4-FFF2-40B4-BE49-F238E27FC236}">
                <a16:creationId xmlns:a16="http://schemas.microsoft.com/office/drawing/2014/main" id="{F12BC0A6-D91F-9207-0969-037B318871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B1BDE051-A64C-BC06-C922-E1F5412586C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2866397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2628383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1595266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2383774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592417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771462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903723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32680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de-DE"/>
              <a:t>Bild durch Klicken auf Symbol hinzufügen</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987427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166625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346472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948776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pic>
        <p:nvPicPr>
          <p:cNvPr id="7" name="Picture 10" descr="A black background with white text&#10;&#10;Description automatically generated with low confidence">
            <a:extLst>
              <a:ext uri="{FF2B5EF4-FFF2-40B4-BE49-F238E27FC236}">
                <a16:creationId xmlns:a16="http://schemas.microsoft.com/office/drawing/2014/main" id="{E191A18F-9C27-B87B-4FBF-8EC0E86D662F}"/>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1235307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1598615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3631665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 Chapter divider with image">
    <p:bg>
      <p:bgPr>
        <a:solidFill>
          <a:srgbClr val="002733"/>
        </a:solidFill>
        <a:effectLst/>
      </p:bgPr>
    </p:bg>
    <p:spTree>
      <p:nvGrpSpPr>
        <p:cNvPr id="1" name=""/>
        <p:cNvGrpSpPr/>
        <p:nvPr/>
      </p:nvGrpSpPr>
      <p:grpSpPr>
        <a:xfrm>
          <a:off x="0" y="0"/>
          <a:ext cx="0" cy="0"/>
          <a:chOff x="0" y="0"/>
          <a:chExt cx="0" cy="0"/>
        </a:xfrm>
      </p:grpSpPr>
      <p:pic>
        <p:nvPicPr>
          <p:cNvPr id="23" name="Grafik 22"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black"/>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black"/>
        <p:txBody>
          <a:bodyPr/>
          <a:lstStyle>
            <a:lvl1pPr>
              <a:defRPr>
                <a:solidFill>
                  <a:schemeClr val="accent4"/>
                </a:solidFill>
              </a:defRPr>
            </a:lvl1pPr>
          </a:lstStyle>
          <a:p>
            <a:r>
              <a:rPr lang="en-US" b="1"/>
              <a:t>Department K-OE  |  Presentation title  |  CSD-class</a:t>
            </a:r>
            <a:endParaRPr lang="en-GB"/>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black"/>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black">
          <a:xfrm>
            <a:off x="407988" y="5860351"/>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1"/>
                </a:solidFill>
                <a:latin typeface="+mn-lt"/>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black">
          <a:xfrm>
            <a:off x="407035" y="4105572"/>
            <a:ext cx="6424839" cy="1495794"/>
          </a:xfrm>
        </p:spPr>
        <p:txBody>
          <a:bodyPr wrap="square" anchor="b" anchorCtr="0">
            <a:spAutoFit/>
          </a:bodyPr>
          <a:lstStyle>
            <a:lvl1pPr marL="0" indent="0">
              <a:lnSpc>
                <a:spcPct val="90000"/>
              </a:lnSpc>
              <a:spcBef>
                <a:spcPts val="0"/>
              </a:spcBef>
              <a:buFont typeface="The Group TEXT" panose="020B0604020202020204" pitchFamily="34" charset="0"/>
              <a:buNone/>
              <a:defRPr sz="3600" b="0">
                <a:solidFill>
                  <a:schemeClr val="tx1"/>
                </a:solidFill>
                <a:latin typeface="The Group HEAD Light" panose="00000400000000000000" pitchFamily="2" charset="0"/>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r>
              <a:rPr lang="en-US"/>
              <a:t>Chapter divider, max. three lines in The Group Head Light 36pt, White</a:t>
            </a:r>
          </a:p>
        </p:txBody>
      </p:sp>
      <p:pic>
        <p:nvPicPr>
          <p:cNvPr id="21" name="Picture 10" descr="A black background with white text&#10;&#10;Description automatically generated with low confidence">
            <a:extLst>
              <a:ext uri="{FF2B5EF4-FFF2-40B4-BE49-F238E27FC236}">
                <a16:creationId xmlns:a16="http://schemas.microsoft.com/office/drawing/2014/main" id="{2E099887-9957-CBB1-12D3-11E0AEF79F39}"/>
              </a:ext>
            </a:extLst>
          </p:cNvPr>
          <p:cNvPicPr>
            <a:picLocks noChangeAspect="1"/>
          </p:cNvPicPr>
          <p:nvPr userDrawn="1"/>
        </p:nvPicPr>
        <p:blipFill>
          <a:blip r:embed="rId3"/>
          <a:stretch>
            <a:fillRect/>
          </a:stretch>
        </p:blipFill>
        <p:spPr bwMode="black">
          <a:xfrm>
            <a:off x="10379738" y="165600"/>
            <a:ext cx="1494000" cy="483812"/>
          </a:xfrm>
          <a:prstGeom prst="rect">
            <a:avLst/>
          </a:prstGeom>
        </p:spPr>
      </p:pic>
      <p:sp>
        <p:nvSpPr>
          <p:cNvPr id="2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black">
          <a:xfrm>
            <a:off x="433848" y="1603232"/>
            <a:ext cx="1482664" cy="1825768"/>
          </a:xfrm>
          <a:prstGeom prst="roundRect">
            <a:avLst>
              <a:gd name="adj" fmla="val 24235"/>
            </a:avLst>
          </a:prstGeom>
          <a:ln w="47625">
            <a:solidFill>
              <a:srgbClr val="C2FE06"/>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8200" b="0">
                <a:solidFill>
                  <a:schemeClr val="tx1"/>
                </a:solidFill>
                <a:latin typeface="The Group HEAD Light" panose="00000400000000000000" pitchFamily="2" charset="0"/>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Tree>
    <p:extLst>
      <p:ext uri="{BB962C8B-B14F-4D97-AF65-F5344CB8AC3E}">
        <p14:creationId xmlns:p14="http://schemas.microsoft.com/office/powerpoint/2010/main" val="2394169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3797326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3816359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4064057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2" name="Picture 10" descr="A black background with white text&#10;&#10;Description automatically generated with low confidence">
            <a:extLst>
              <a:ext uri="{FF2B5EF4-FFF2-40B4-BE49-F238E27FC236}">
                <a16:creationId xmlns:a16="http://schemas.microsoft.com/office/drawing/2014/main" id="{CA9F1942-7025-8074-1FA9-500FDA0A318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460990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48015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3547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406572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726659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pic>
        <p:nvPicPr>
          <p:cNvPr id="8" name="Picture 7" descr="A black background with white text&#10;&#10;AI-generated content may be incorrect.">
            <a:extLst>
              <a:ext uri="{FF2B5EF4-FFF2-40B4-BE49-F238E27FC236}">
                <a16:creationId xmlns:a16="http://schemas.microsoft.com/office/drawing/2014/main" id="{36F396C4-F7DA-9E7F-8544-132F47E4F54F}"/>
              </a:ext>
            </a:extLst>
          </p:cNvPr>
          <p:cNvPicPr>
            <a:picLocks noChangeAspect="1"/>
          </p:cNvPicPr>
          <p:nvPr userDrawn="1"/>
        </p:nvPicPr>
        <p:blipFill>
          <a:blip r:embed="rId2"/>
          <a:stretch>
            <a:fillRect/>
          </a:stretch>
        </p:blipFill>
        <p:spPr>
          <a:xfrm>
            <a:off x="9368287" y="-66449"/>
            <a:ext cx="2884703" cy="811990"/>
          </a:xfrm>
          <a:prstGeom prst="rect">
            <a:avLst/>
          </a:prstGeom>
        </p:spPr>
      </p:pic>
    </p:spTree>
    <p:extLst>
      <p:ext uri="{BB962C8B-B14F-4D97-AF65-F5344CB8AC3E}">
        <p14:creationId xmlns:p14="http://schemas.microsoft.com/office/powerpoint/2010/main" val="2365354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311558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144158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5024761" y="0"/>
            <a:ext cx="716723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4216280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428473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3070206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1376107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327846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423539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698339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White</a:t>
            </a:r>
            <a:endParaRPr lang="en-IN"/>
          </a:p>
        </p:txBody>
      </p:sp>
    </p:spTree>
    <p:extLst>
      <p:ext uri="{BB962C8B-B14F-4D97-AF65-F5344CB8AC3E}">
        <p14:creationId xmlns:p14="http://schemas.microsoft.com/office/powerpoint/2010/main" val="3651631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1203962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55252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a:t>Headline in The Group Head Light 28pt, Deep Space Blue</a:t>
            </a:r>
            <a:endParaRPr lang="en-IN"/>
          </a:p>
        </p:txBody>
      </p:sp>
    </p:spTree>
    <p:extLst>
      <p:ext uri="{BB962C8B-B14F-4D97-AF65-F5344CB8AC3E}">
        <p14:creationId xmlns:p14="http://schemas.microsoft.com/office/powerpoint/2010/main" val="2688058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44790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472134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3484854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167248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pic>
        <p:nvPicPr>
          <p:cNvPr id="4" name="Picture 3" descr="A black background with white text&#10;&#10;Description automatically generated with low confidence">
            <a:extLst>
              <a:ext uri="{FF2B5EF4-FFF2-40B4-BE49-F238E27FC236}">
                <a16:creationId xmlns:a16="http://schemas.microsoft.com/office/drawing/2014/main" id="{CB8A2DB9-6B9F-4511-38FC-246E1F85D63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714134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a:t>Relevant assets available on the Volkswagen Group CD portal.</a:t>
            </a:r>
            <a:endParaRPr lang="en-GB" sz="1200"/>
          </a:p>
          <a:p>
            <a:endParaRPr lang="en-GB" sz="120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40439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198129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4115358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429339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27631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se content status markers are available as graphic assets you can copy from master view.</a:t>
            </a:r>
          </a:p>
          <a:p>
            <a:r>
              <a:rPr lang="en-GB" b="0">
                <a:solidFill>
                  <a:schemeClr val="tx2"/>
                </a:solidFill>
              </a:rPr>
              <a:t>The selected tag will need to be placed </a:t>
            </a:r>
            <a:br>
              <a:rPr lang="en-GB" b="0">
                <a:solidFill>
                  <a:schemeClr val="tx2"/>
                </a:solidFill>
              </a:rPr>
            </a:br>
            <a:r>
              <a:rPr lang="en-GB" b="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1803422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 classification set as public, internal, confidential and secret will be automatically set by Office 365. </a:t>
            </a:r>
            <a:br>
              <a:rPr lang="en-GB" b="0">
                <a:solidFill>
                  <a:schemeClr val="tx2"/>
                </a:solidFill>
              </a:rPr>
            </a:br>
            <a:r>
              <a:rPr lang="en-GB" b="0">
                <a:solidFill>
                  <a:schemeClr val="tx2"/>
                </a:solidFill>
              </a:rPr>
              <a:t>As soon as the document is created, the class has to be defined. </a:t>
            </a:r>
          </a:p>
          <a:p>
            <a:r>
              <a:rPr lang="en-GB" b="0">
                <a:solidFill>
                  <a:schemeClr val="tx2"/>
                </a:solidFill>
              </a:rPr>
              <a:t>On the title slide, the class has to be set manually and in capital letters below the title — please add it manually. </a:t>
            </a:r>
          </a:p>
          <a:p>
            <a:r>
              <a:rPr lang="en-GB" b="0">
                <a:solidFill>
                  <a:schemeClr val="tx2"/>
                </a:solidFill>
              </a:rPr>
              <a:t>The position of the confidentiality class on the content slide is bottom left, automatically set by the software.  </a:t>
            </a:r>
          </a:p>
          <a:p>
            <a:r>
              <a:rPr lang="en-GB" b="0">
                <a:solidFill>
                  <a:schemeClr val="tx2"/>
                </a:solidFill>
              </a:rPr>
              <a:t>REMARK: The confidentiality classification does not appear on slides with full-page pictures.  </a:t>
            </a:r>
          </a:p>
          <a:p>
            <a:r>
              <a:rPr lang="en-GB" b="0">
                <a:solidFill>
                  <a:schemeClr val="tx2"/>
                </a:solidFill>
              </a:rPr>
              <a:t>You can find detailed information about confidentiality classification in GroupWiki: </a:t>
            </a:r>
            <a:br>
              <a:rPr lang="en-GB" b="0"/>
            </a:br>
            <a:r>
              <a:rPr lang="en-GB" b="0">
                <a:hlinkClick r:id="rId2"/>
              </a:rPr>
              <a:t>https://group-wiki.wob.vw.vwg/wikis/pages/viewpage.action?pageId=527796483</a:t>
            </a:r>
            <a:r>
              <a:rPr lang="en-GB" b="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a:t>Confidentiality Classification</a:t>
            </a:r>
            <a:endParaRPr lang="ar-AE"/>
          </a:p>
        </p:txBody>
      </p:sp>
    </p:spTree>
    <p:extLst>
      <p:ext uri="{BB962C8B-B14F-4D97-AF65-F5344CB8AC3E}">
        <p14:creationId xmlns:p14="http://schemas.microsoft.com/office/powerpoint/2010/main" val="855775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996192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3AF7D15-C5EC-B7EF-11C9-8D5D1C5D64A7}"/>
              </a:ext>
            </a:extLst>
          </p:cNvPr>
          <p:cNvGrpSpPr/>
          <p:nvPr userDrawn="1"/>
        </p:nvGrpSpPr>
        <p:grpSpPr>
          <a:xfrm>
            <a:off x="2155100" y="3164986"/>
            <a:ext cx="7920000" cy="540000"/>
            <a:chOff x="2155100" y="3164986"/>
            <a:chExt cx="7920000" cy="540000"/>
          </a:xfrm>
        </p:grpSpPr>
        <p:sp>
          <p:nvSpPr>
            <p:cNvPr id="6" name="Rectangle 5">
              <a:extLst>
                <a:ext uri="{FF2B5EF4-FFF2-40B4-BE49-F238E27FC236}">
                  <a16:creationId xmlns:a16="http://schemas.microsoft.com/office/drawing/2014/main" id="{6709D60E-82B8-468E-45D8-48519A6C5C11}"/>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tx1"/>
                </a:solidFill>
              </a:endParaRPr>
            </a:p>
          </p:txBody>
        </p:sp>
        <p:pic>
          <p:nvPicPr>
            <p:cNvPr id="10" name="Picture 4">
              <a:extLst>
                <a:ext uri="{FF2B5EF4-FFF2-40B4-BE49-F238E27FC236}">
                  <a16:creationId xmlns:a16="http://schemas.microsoft.com/office/drawing/2014/main" id="{5E45D632-0C65-5D46-F746-CCEA22BBC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2209800" y="3218498"/>
              <a:ext cx="7772400" cy="421005"/>
            </a:xfrm>
            <a:prstGeom prst="rect">
              <a:avLst/>
            </a:prstGeom>
          </p:spPr>
        </p:pic>
      </p:grpSp>
    </p:spTree>
    <p:extLst>
      <p:ext uri="{BB962C8B-B14F-4D97-AF65-F5344CB8AC3E}">
        <p14:creationId xmlns:p14="http://schemas.microsoft.com/office/powerpoint/2010/main" val="1170134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2909988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a:extLst>
              <a:ext uri="{FF2B5EF4-FFF2-40B4-BE49-F238E27FC236}">
                <a16:creationId xmlns:a16="http://schemas.microsoft.com/office/drawing/2014/main" id="{2909720B-E69F-DC75-F3E5-96D06ACC4EE7}"/>
              </a:ext>
            </a:extLst>
          </p:cNvPr>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a:extLst>
              <a:ext uri="{FF2B5EF4-FFF2-40B4-BE49-F238E27FC236}">
                <a16:creationId xmlns:a16="http://schemas.microsoft.com/office/drawing/2014/main" id="{F12BC0A6-D91F-9207-0969-037B318871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B1BDE051-A64C-BC06-C922-E1F5412586C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292204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157929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1611597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247871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328616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7896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503117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713025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de-DE"/>
              <a:t>Bild durch Klicken auf Symbol hinzufügen</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418399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1897171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3428901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3128167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pic>
        <p:nvPicPr>
          <p:cNvPr id="7" name="Picture 10" descr="A black background with white text&#10;&#10;Description automatically generated with low confidence">
            <a:extLst>
              <a:ext uri="{FF2B5EF4-FFF2-40B4-BE49-F238E27FC236}">
                <a16:creationId xmlns:a16="http://schemas.microsoft.com/office/drawing/2014/main" id="{E191A18F-9C27-B87B-4FBF-8EC0E86D662F}"/>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1629130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1829802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 Chapter divider with image">
    <p:bg>
      <p:bgPr>
        <a:solidFill>
          <a:srgbClr val="002733"/>
        </a:solidFill>
        <a:effectLst/>
      </p:bgPr>
    </p:bg>
    <p:spTree>
      <p:nvGrpSpPr>
        <p:cNvPr id="1" name=""/>
        <p:cNvGrpSpPr/>
        <p:nvPr/>
      </p:nvGrpSpPr>
      <p:grpSpPr>
        <a:xfrm>
          <a:off x="0" y="0"/>
          <a:ext cx="0" cy="0"/>
          <a:chOff x="0" y="0"/>
          <a:chExt cx="0" cy="0"/>
        </a:xfrm>
      </p:grpSpPr>
      <p:pic>
        <p:nvPicPr>
          <p:cNvPr id="23" name="Grafik 22"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black"/>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black"/>
        <p:txBody>
          <a:bodyPr/>
          <a:lstStyle>
            <a:lvl1pPr>
              <a:defRPr>
                <a:solidFill>
                  <a:schemeClr val="accent4"/>
                </a:solidFill>
              </a:defRPr>
            </a:lvl1pPr>
          </a:lstStyle>
          <a:p>
            <a:r>
              <a:rPr lang="en-US" b="1"/>
              <a:t>Department K-OE  |  Presentation title  |  CSD-class</a:t>
            </a:r>
            <a:endParaRPr lang="en-GB"/>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black"/>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black">
          <a:xfrm>
            <a:off x="407988" y="5860351"/>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1"/>
                </a:solidFill>
                <a:latin typeface="+mn-lt"/>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black">
          <a:xfrm>
            <a:off x="407035" y="4105572"/>
            <a:ext cx="6424839" cy="1495794"/>
          </a:xfrm>
        </p:spPr>
        <p:txBody>
          <a:bodyPr wrap="square" anchor="b" anchorCtr="0">
            <a:spAutoFit/>
          </a:bodyPr>
          <a:lstStyle>
            <a:lvl1pPr marL="0" indent="0">
              <a:lnSpc>
                <a:spcPct val="90000"/>
              </a:lnSpc>
              <a:spcBef>
                <a:spcPts val="0"/>
              </a:spcBef>
              <a:buFont typeface="The Group TEXT" panose="020B0604020202020204" pitchFamily="34" charset="0"/>
              <a:buNone/>
              <a:defRPr sz="3600" b="0">
                <a:solidFill>
                  <a:schemeClr val="tx1"/>
                </a:solidFill>
                <a:latin typeface="The Group HEAD Light" panose="00000400000000000000" pitchFamily="2" charset="0"/>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r>
              <a:rPr lang="en-US"/>
              <a:t>Chapter divider, max. three lines in The Group Head Light 36pt, White</a:t>
            </a:r>
          </a:p>
        </p:txBody>
      </p:sp>
      <p:pic>
        <p:nvPicPr>
          <p:cNvPr id="21" name="Picture 10" descr="A black background with white text&#10;&#10;Description automatically generated with low confidence">
            <a:extLst>
              <a:ext uri="{FF2B5EF4-FFF2-40B4-BE49-F238E27FC236}">
                <a16:creationId xmlns:a16="http://schemas.microsoft.com/office/drawing/2014/main" id="{2E099887-9957-CBB1-12D3-11E0AEF79F39}"/>
              </a:ext>
            </a:extLst>
          </p:cNvPr>
          <p:cNvPicPr>
            <a:picLocks noChangeAspect="1"/>
          </p:cNvPicPr>
          <p:nvPr userDrawn="1"/>
        </p:nvPicPr>
        <p:blipFill>
          <a:blip r:embed="rId3"/>
          <a:stretch>
            <a:fillRect/>
          </a:stretch>
        </p:blipFill>
        <p:spPr bwMode="black">
          <a:xfrm>
            <a:off x="10379738" y="165600"/>
            <a:ext cx="1494000" cy="483812"/>
          </a:xfrm>
          <a:prstGeom prst="rect">
            <a:avLst/>
          </a:prstGeom>
        </p:spPr>
      </p:pic>
      <p:sp>
        <p:nvSpPr>
          <p:cNvPr id="2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black">
          <a:xfrm>
            <a:off x="433848" y="1603232"/>
            <a:ext cx="1482664" cy="1825768"/>
          </a:xfrm>
          <a:prstGeom prst="roundRect">
            <a:avLst>
              <a:gd name="adj" fmla="val 24235"/>
            </a:avLst>
          </a:prstGeom>
          <a:ln w="47625">
            <a:solidFill>
              <a:srgbClr val="C2FE06"/>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8200" b="0">
                <a:solidFill>
                  <a:schemeClr val="tx1"/>
                </a:solidFill>
                <a:latin typeface="The Group HEAD Light" panose="00000400000000000000" pitchFamily="2" charset="0"/>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Tree>
    <p:extLst>
      <p:ext uri="{BB962C8B-B14F-4D97-AF65-F5344CB8AC3E}">
        <p14:creationId xmlns:p14="http://schemas.microsoft.com/office/powerpoint/2010/main" val="3948771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116628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392609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4007648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2123283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2" name="Picture 10" descr="A black background with white text&#10;&#10;Description automatically generated with low confidence">
            <a:extLst>
              <a:ext uri="{FF2B5EF4-FFF2-40B4-BE49-F238E27FC236}">
                <a16:creationId xmlns:a16="http://schemas.microsoft.com/office/drawing/2014/main" id="{CA9F1942-7025-8074-1FA9-500FDA0A318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3697996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180368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2964242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014557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4075379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692825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878838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4202520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58335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912213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3413245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847690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3520422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4109746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124795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White</a:t>
            </a:r>
            <a:endParaRPr lang="en-IN"/>
          </a:p>
        </p:txBody>
      </p:sp>
    </p:spTree>
    <p:extLst>
      <p:ext uri="{BB962C8B-B14F-4D97-AF65-F5344CB8AC3E}">
        <p14:creationId xmlns:p14="http://schemas.microsoft.com/office/powerpoint/2010/main" val="60300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a:t>Headline in The Group Head Light 28pt, Deep Space Blue</a:t>
            </a:r>
            <a:endParaRPr lang="en-IN"/>
          </a:p>
        </p:txBody>
      </p:sp>
    </p:spTree>
    <p:extLst>
      <p:ext uri="{BB962C8B-B14F-4D97-AF65-F5344CB8AC3E}">
        <p14:creationId xmlns:p14="http://schemas.microsoft.com/office/powerpoint/2010/main" val="1450434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8610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24410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1062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51627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44921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pic>
        <p:nvPicPr>
          <p:cNvPr id="4" name="Picture 3" descr="A black background with white text&#10;&#10;Description automatically generated with low confidence">
            <a:extLst>
              <a:ext uri="{FF2B5EF4-FFF2-40B4-BE49-F238E27FC236}">
                <a16:creationId xmlns:a16="http://schemas.microsoft.com/office/drawing/2014/main" id="{CB8A2DB9-6B9F-4511-38FC-246E1F85D63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620363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a:t>Relevant assets available on the Volkswagen Group CD portal.</a:t>
            </a:r>
            <a:endParaRPr lang="en-GB" sz="1200"/>
          </a:p>
          <a:p>
            <a:endParaRPr lang="en-GB" sz="120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91140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1937865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216190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294451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se content status markers are available as graphic assets you can copy from master view.</a:t>
            </a:r>
          </a:p>
          <a:p>
            <a:r>
              <a:rPr lang="en-GB" b="0">
                <a:solidFill>
                  <a:schemeClr val="tx2"/>
                </a:solidFill>
              </a:rPr>
              <a:t>The selected tag will need to be placed </a:t>
            </a:r>
            <a:br>
              <a:rPr lang="en-GB" b="0">
                <a:solidFill>
                  <a:schemeClr val="tx2"/>
                </a:solidFill>
              </a:rPr>
            </a:br>
            <a:r>
              <a:rPr lang="en-GB" b="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992326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 classification set as public, internal, confidential and secret will be automatically set by Office 365. </a:t>
            </a:r>
            <a:br>
              <a:rPr lang="en-GB" b="0">
                <a:solidFill>
                  <a:schemeClr val="tx2"/>
                </a:solidFill>
              </a:rPr>
            </a:br>
            <a:r>
              <a:rPr lang="en-GB" b="0">
                <a:solidFill>
                  <a:schemeClr val="tx2"/>
                </a:solidFill>
              </a:rPr>
              <a:t>As soon as the document is created, the class has to be defined. </a:t>
            </a:r>
          </a:p>
          <a:p>
            <a:r>
              <a:rPr lang="en-GB" b="0">
                <a:solidFill>
                  <a:schemeClr val="tx2"/>
                </a:solidFill>
              </a:rPr>
              <a:t>On the title slide, the class has to be set manually and in capital letters below the title — please add it manually. </a:t>
            </a:r>
          </a:p>
          <a:p>
            <a:r>
              <a:rPr lang="en-GB" b="0">
                <a:solidFill>
                  <a:schemeClr val="tx2"/>
                </a:solidFill>
              </a:rPr>
              <a:t>The position of the confidentiality class on the content slide is bottom left, automatically set by the software.  </a:t>
            </a:r>
          </a:p>
          <a:p>
            <a:r>
              <a:rPr lang="en-GB" b="0">
                <a:solidFill>
                  <a:schemeClr val="tx2"/>
                </a:solidFill>
              </a:rPr>
              <a:t>REMARK: The confidentiality classification does not appear on slides with full-page pictures.  </a:t>
            </a:r>
          </a:p>
          <a:p>
            <a:r>
              <a:rPr lang="en-GB" b="0">
                <a:solidFill>
                  <a:schemeClr val="tx2"/>
                </a:solidFill>
              </a:rPr>
              <a:t>You can find detailed information about confidentiality classification in GroupWiki: </a:t>
            </a:r>
            <a:br>
              <a:rPr lang="en-GB" b="0"/>
            </a:br>
            <a:r>
              <a:rPr lang="en-GB" b="0">
                <a:hlinkClick r:id="rId2"/>
              </a:rPr>
              <a:t>https://group-wiki.wob.vw.vwg/wikis/pages/viewpage.action?pageId=527796483</a:t>
            </a:r>
            <a:r>
              <a:rPr lang="en-GB" b="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a:t>Confidentiality Classification</a:t>
            </a:r>
            <a:endParaRPr lang="ar-AE"/>
          </a:p>
        </p:txBody>
      </p:sp>
    </p:spTree>
    <p:extLst>
      <p:ext uri="{BB962C8B-B14F-4D97-AF65-F5344CB8AC3E}">
        <p14:creationId xmlns:p14="http://schemas.microsoft.com/office/powerpoint/2010/main" val="569359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50298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400516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54335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676511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74536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
        <p:nvSpPr>
          <p:cNvPr id="15" name="Picture Placeholder 14">
            <a:extLst>
              <a:ext uri="{FF2B5EF4-FFF2-40B4-BE49-F238E27FC236}">
                <a16:creationId xmlns:a16="http://schemas.microsoft.com/office/drawing/2014/main" id="{BCDB429C-4A2B-11D9-8B09-0C93DD7FDC1F}"/>
              </a:ext>
            </a:extLst>
          </p:cNvPr>
          <p:cNvSpPr>
            <a:spLocks noGrp="1"/>
          </p:cNvSpPr>
          <p:nvPr>
            <p:ph type="pic" sz="quarter" idx="19"/>
          </p:nvPr>
        </p:nvSpPr>
        <p:spPr bwMode="gray">
          <a:xfrm>
            <a:off x="6438900" y="0"/>
            <a:ext cx="5753100" cy="6858000"/>
          </a:xfrm>
          <a:custGeom>
            <a:avLst/>
            <a:gdLst>
              <a:gd name="connsiteX0" fmla="*/ 2225702 w 5753100"/>
              <a:gd name="connsiteY0" fmla="*/ 0 h 6858000"/>
              <a:gd name="connsiteX1" fmla="*/ 5753100 w 5753100"/>
              <a:gd name="connsiteY1" fmla="*/ 0 h 6858000"/>
              <a:gd name="connsiteX2" fmla="*/ 3527398 w 5753100"/>
              <a:gd name="connsiteY2" fmla="*/ 6858000 h 6858000"/>
              <a:gd name="connsiteX3" fmla="*/ 0 w 57531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53100" h="6858000">
                <a:moveTo>
                  <a:pt x="2225702" y="0"/>
                </a:moveTo>
                <a:lnTo>
                  <a:pt x="5753100" y="0"/>
                </a:lnTo>
                <a:lnTo>
                  <a:pt x="3527398" y="6858000"/>
                </a:lnTo>
                <a:lnTo>
                  <a:pt x="0" y="6858000"/>
                </a:lnTo>
                <a:close/>
              </a:path>
            </a:pathLst>
          </a:custGeom>
          <a:ln>
            <a:solidFill>
              <a:schemeClr val="tx1"/>
            </a:solidFill>
          </a:ln>
        </p:spPr>
        <p:txBody>
          <a:bodyPr wrap="square">
            <a:noAutofit/>
          </a:bodyPr>
          <a:lstStyle/>
          <a:p>
            <a:endParaRPr lang="en-US"/>
          </a:p>
        </p:txBody>
      </p:sp>
    </p:spTree>
    <p:extLst>
      <p:ext uri="{BB962C8B-B14F-4D97-AF65-F5344CB8AC3E}">
        <p14:creationId xmlns:p14="http://schemas.microsoft.com/office/powerpoint/2010/main" val="1716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49895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894978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4262323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White</a:t>
            </a:r>
            <a:endParaRPr lang="en-IN"/>
          </a:p>
        </p:txBody>
      </p:sp>
    </p:spTree>
    <p:extLst>
      <p:ext uri="{BB962C8B-B14F-4D97-AF65-F5344CB8AC3E}">
        <p14:creationId xmlns:p14="http://schemas.microsoft.com/office/powerpoint/2010/main" val="849778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a:t>Headline in The Group Head Light 28pt, Deep Space Blue</a:t>
            </a:r>
            <a:endParaRPr lang="en-IN"/>
          </a:p>
        </p:txBody>
      </p:sp>
    </p:spTree>
    <p:extLst>
      <p:ext uri="{BB962C8B-B14F-4D97-AF65-F5344CB8AC3E}">
        <p14:creationId xmlns:p14="http://schemas.microsoft.com/office/powerpoint/2010/main" val="322947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074495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230632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411930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16185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2018998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4232527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a:t>Relevant assets available on the Volkswagen Group CD portal.</a:t>
            </a:r>
            <a:endParaRPr lang="en-GB" sz="1200"/>
          </a:p>
          <a:p>
            <a:endParaRPr lang="en-GB" sz="120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91262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694321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187169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329224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se content status markers are available as graphic assets you can copy from master view.</a:t>
            </a:r>
          </a:p>
          <a:p>
            <a:r>
              <a:rPr lang="en-GB" b="0">
                <a:solidFill>
                  <a:schemeClr val="tx2"/>
                </a:solidFill>
              </a:rPr>
              <a:t>The selected tag will need to be placed </a:t>
            </a:r>
            <a:br>
              <a:rPr lang="en-GB" b="0">
                <a:solidFill>
                  <a:schemeClr val="tx2"/>
                </a:solidFill>
              </a:rPr>
            </a:br>
            <a:r>
              <a:rPr lang="en-GB" b="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57720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 classification set as public, internal, confidential and secret will be automatically set by Office 365. </a:t>
            </a:r>
            <a:br>
              <a:rPr lang="en-GB" b="0">
                <a:solidFill>
                  <a:schemeClr val="tx2"/>
                </a:solidFill>
              </a:rPr>
            </a:br>
            <a:r>
              <a:rPr lang="en-GB" b="0">
                <a:solidFill>
                  <a:schemeClr val="tx2"/>
                </a:solidFill>
              </a:rPr>
              <a:t>As soon as the document is created, the class has to be defined. </a:t>
            </a:r>
          </a:p>
          <a:p>
            <a:r>
              <a:rPr lang="en-GB" b="0">
                <a:solidFill>
                  <a:schemeClr val="tx2"/>
                </a:solidFill>
              </a:rPr>
              <a:t>On the title slide, the class has to be set manually and in capital letters below the title — please add it manually. </a:t>
            </a:r>
          </a:p>
          <a:p>
            <a:r>
              <a:rPr lang="en-GB" b="0">
                <a:solidFill>
                  <a:schemeClr val="tx2"/>
                </a:solidFill>
              </a:rPr>
              <a:t>The position of the confidentiality class on the content slide is bottom left, automatically set by the software.  </a:t>
            </a:r>
          </a:p>
          <a:p>
            <a:r>
              <a:rPr lang="en-GB" b="0">
                <a:solidFill>
                  <a:schemeClr val="tx2"/>
                </a:solidFill>
              </a:rPr>
              <a:t>REMARK: The confidentiality classification does not appear on slides with full-page pictures.  </a:t>
            </a:r>
          </a:p>
          <a:p>
            <a:r>
              <a:rPr lang="en-GB" b="0">
                <a:solidFill>
                  <a:schemeClr val="tx2"/>
                </a:solidFill>
              </a:rPr>
              <a:t>You can find detailed information about confidentiality classification in GroupWiki: </a:t>
            </a:r>
            <a:br>
              <a:rPr lang="en-GB" b="0"/>
            </a:br>
            <a:r>
              <a:rPr lang="en-GB" b="0">
                <a:hlinkClick r:id="rId2"/>
              </a:rPr>
              <a:t>https://group-wiki.wob.vw.vwg/wikis/pages/viewpage.action?pageId=527796483</a:t>
            </a:r>
            <a:r>
              <a:rPr lang="en-GB" b="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a:t>Confidentiality Classification</a:t>
            </a:r>
            <a:endParaRPr lang="ar-AE"/>
          </a:p>
        </p:txBody>
      </p:sp>
    </p:spTree>
    <p:extLst>
      <p:ext uri="{BB962C8B-B14F-4D97-AF65-F5344CB8AC3E}">
        <p14:creationId xmlns:p14="http://schemas.microsoft.com/office/powerpoint/2010/main" val="212189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134803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Header_opt3">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extLst>
              <p:ext uri="{D42A27DB-BD31-4B8C-83A1-F6EECF244321}">
                <p14:modId xmlns:p14="http://schemas.microsoft.com/office/powerpoint/2010/main" val="314799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4" name="Object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g object 16"/>
          <p:cNvSpPr/>
          <p:nvPr userDrawn="1"/>
        </p:nvSpPr>
        <p:spPr>
          <a:xfrm>
            <a:off x="0" y="0"/>
            <a:ext cx="2438400" cy="6383179"/>
          </a:xfrm>
          <a:prstGeom prst="rect">
            <a:avLst/>
          </a:prstGeom>
          <a:gradFill flip="none" rotWithShape="1">
            <a:gsLst>
              <a:gs pos="38000">
                <a:srgbClr val="573059"/>
              </a:gs>
              <a:gs pos="0">
                <a:srgbClr val="A21E4D">
                  <a:lumMod val="79000"/>
                </a:srgbClr>
              </a:gs>
              <a:gs pos="100000">
                <a:srgbClr val="004666"/>
              </a:gs>
            </a:gsLst>
            <a:path path="circle">
              <a:fillToRect l="100000" t="100000"/>
            </a:path>
            <a:tileRect r="-100000" b="-100000"/>
          </a:gradFill>
        </p:spPr>
        <p:txBody>
          <a:bodyPr wrap="square" lIns="0" tIns="0" rIns="0" bIns="0" rtlCol="0"/>
          <a:lstStyle/>
          <a:p>
            <a:endParaRPr/>
          </a:p>
        </p:txBody>
      </p:sp>
      <p:sp>
        <p:nvSpPr>
          <p:cNvPr id="2" name="Title 1"/>
          <p:cNvSpPr>
            <a:spLocks noGrp="1"/>
          </p:cNvSpPr>
          <p:nvPr>
            <p:ph type="title"/>
          </p:nvPr>
        </p:nvSpPr>
        <p:spPr>
          <a:xfrm>
            <a:off x="2514600" y="243142"/>
            <a:ext cx="8993553" cy="671258"/>
          </a:xfrm>
        </p:spPr>
        <p:txBody>
          <a:bodyPr vert="horz"/>
          <a:lstStyle>
            <a:lvl1pPr>
              <a:defRPr>
                <a:solidFill>
                  <a:srgbClr val="5F1939"/>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VWITS Business Overview</a:t>
            </a:r>
          </a:p>
        </p:txBody>
      </p:sp>
    </p:spTree>
    <p:extLst>
      <p:ext uri="{BB962C8B-B14F-4D97-AF65-F5344CB8AC3E}">
        <p14:creationId xmlns:p14="http://schemas.microsoft.com/office/powerpoint/2010/main" val="18062257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 Title only Deep Space Blue">
    <p:bg bwMode="inv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9FC5540-3780-D7B7-555A-8FB92A2895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09FC5540-3780-D7B7-555A-8FB92A2895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6" name="Gerader Verbinder 15">
            <a:extLst>
              <a:ext uri="{FF2B5EF4-FFF2-40B4-BE49-F238E27FC236}">
                <a16:creationId xmlns:a16="http://schemas.microsoft.com/office/drawing/2014/main" id="{9BA273D5-E740-B1B2-D718-95C49227DB9B}"/>
              </a:ext>
            </a:extLst>
          </p:cNvPr>
          <p:cNvCxnSpPr/>
          <p:nvPr/>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187320"/>
            <a:ext cx="11376021" cy="387798"/>
          </a:xfrm>
        </p:spPr>
        <p:txBody>
          <a:bodyPr vert="horz" anchor="b"/>
          <a:lstStyle>
            <a:lvl1pPr>
              <a:defRPr>
                <a:solidFill>
                  <a:schemeClr val="tx2"/>
                </a:solidFill>
                <a:latin typeface="The Group TEXT" panose="00000500000000000000" pitchFamily="2" charset="0"/>
                <a:sym typeface="The Group TEXT" panose="00000500000000000000" pitchFamily="2" charset="0"/>
              </a:defRPr>
            </a:lvl1pPr>
          </a:lstStyle>
          <a:p>
            <a:r>
              <a:rPr lang="en-US"/>
              <a:t>Headline in The Group Head Light 28pt, White</a:t>
            </a:r>
            <a:endParaRPr lang="en-IN"/>
          </a:p>
        </p:txBody>
      </p:sp>
      <p:sp>
        <p:nvSpPr>
          <p:cNvPr id="13" name="Freeform 41">
            <a:extLst>
              <a:ext uri="{FF2B5EF4-FFF2-40B4-BE49-F238E27FC236}">
                <a16:creationId xmlns:a16="http://schemas.microsoft.com/office/drawing/2014/main" id="{62424A32-88FD-EAF3-4471-3A12072C8FD5}"/>
              </a:ext>
            </a:extLst>
          </p:cNvPr>
          <p:cNvSpPr/>
          <p:nvPr/>
        </p:nvSpPr>
        <p:spPr bwMode="auto">
          <a:xfrm>
            <a:off x="4657725" y="612999"/>
            <a:ext cx="7534275" cy="73152"/>
          </a:xfrm>
          <a:custGeom>
            <a:avLst/>
            <a:gdLst>
              <a:gd name="connsiteX0" fmla="*/ 1554480 w 4297680"/>
              <a:gd name="connsiteY0" fmla="*/ 0 h 100232"/>
              <a:gd name="connsiteX1" fmla="*/ 4297680 w 4297680"/>
              <a:gd name="connsiteY1" fmla="*/ 0 h 100232"/>
              <a:gd name="connsiteX2" fmla="*/ 4297680 w 4297680"/>
              <a:gd name="connsiteY2" fmla="*/ 72800 h 100232"/>
              <a:gd name="connsiteX3" fmla="*/ 4297680 w 4297680"/>
              <a:gd name="connsiteY3" fmla="*/ 91440 h 100232"/>
              <a:gd name="connsiteX4" fmla="*/ 4297680 w 4297680"/>
              <a:gd name="connsiteY4" fmla="*/ 100232 h 100232"/>
              <a:gd name="connsiteX5" fmla="*/ 0 w 4297680"/>
              <a:gd name="connsiteY5" fmla="*/ 100232 h 100232"/>
              <a:gd name="connsiteX6" fmla="*/ 0 w 4297680"/>
              <a:gd name="connsiteY6" fmla="*/ 72800 h 100232"/>
              <a:gd name="connsiteX7" fmla="*/ 1336080 w 4297680"/>
              <a:gd name="connsiteY7" fmla="*/ 72800 h 10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7680" h="100232">
                <a:moveTo>
                  <a:pt x="1554480" y="0"/>
                </a:moveTo>
                <a:lnTo>
                  <a:pt x="4297680" y="0"/>
                </a:lnTo>
                <a:lnTo>
                  <a:pt x="4297680" y="72800"/>
                </a:lnTo>
                <a:lnTo>
                  <a:pt x="4297680" y="91440"/>
                </a:lnTo>
                <a:lnTo>
                  <a:pt x="4297680" y="100232"/>
                </a:lnTo>
                <a:lnTo>
                  <a:pt x="0" y="100232"/>
                </a:lnTo>
                <a:lnTo>
                  <a:pt x="0" y="72800"/>
                </a:lnTo>
                <a:lnTo>
                  <a:pt x="1336080" y="72800"/>
                </a:lnTo>
                <a:close/>
              </a:path>
            </a:pathLst>
          </a:custGeom>
          <a:gradFill flip="none" rotWithShape="1">
            <a:gsLst>
              <a:gs pos="0">
                <a:schemeClr val="tx1"/>
              </a:gs>
              <a:gs pos="100000">
                <a:schemeClr val="tx1"/>
              </a:gs>
            </a:gsLst>
            <a:lin ang="2700000" scaled="1"/>
            <a:tileRect/>
          </a:gradFill>
        </p:spPr>
        <p:txBody>
          <a:bodyPr wrap="square" lIns="0" tIns="0" rIns="0" bIns="0" rtlCol="0"/>
          <a:lstStyle/>
          <a:p>
            <a:pPr lvl="0"/>
            <a:endParaRPr lang="en-US">
              <a:latin typeface="The Group TEXT" panose="00000500000000000000" pitchFamily="2" charset="0"/>
              <a:sym typeface="The Group TEXT" panose="00000500000000000000" pitchFamily="2" charset="0"/>
            </a:endParaRPr>
          </a:p>
        </p:txBody>
      </p:sp>
      <p:pic>
        <p:nvPicPr>
          <p:cNvPr id="2" name="Picture 1">
            <a:extLst>
              <a:ext uri="{FF2B5EF4-FFF2-40B4-BE49-F238E27FC236}">
                <a16:creationId xmlns:a16="http://schemas.microsoft.com/office/drawing/2014/main" id="{58CE62B6-71E4-A6D6-078F-15ECF8C757E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386002" y="6494315"/>
            <a:ext cx="2794000" cy="256498"/>
          </a:xfrm>
          <a:prstGeom prst="rect">
            <a:avLst/>
          </a:prstGeom>
        </p:spPr>
      </p:pic>
      <p:sp>
        <p:nvSpPr>
          <p:cNvPr id="3" name="Freeform 25">
            <a:extLst>
              <a:ext uri="{FF2B5EF4-FFF2-40B4-BE49-F238E27FC236}">
                <a16:creationId xmlns:a16="http://schemas.microsoft.com/office/drawing/2014/main" id="{CC322FC7-A6B6-D5D7-1312-085B6927B1FC}"/>
              </a:ext>
            </a:extLst>
          </p:cNvPr>
          <p:cNvSpPr/>
          <p:nvPr userDrawn="1"/>
        </p:nvSpPr>
        <p:spPr bwMode="auto">
          <a:xfrm rot="16200000">
            <a:off x="6082283" y="291084"/>
            <a:ext cx="27432"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chemeClr val="bg2">
              <a:lumMod val="10000"/>
              <a:lumOff val="9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a:ln>
                <a:noFill/>
              </a:ln>
              <a:solidFill>
                <a:schemeClr val="bg1"/>
              </a:solidFill>
              <a:effectLst/>
              <a:latin typeface="+mj-lt"/>
            </a:endParaRPr>
          </a:p>
        </p:txBody>
      </p:sp>
    </p:spTree>
    <p:extLst>
      <p:ext uri="{BB962C8B-B14F-4D97-AF65-F5344CB8AC3E}">
        <p14:creationId xmlns:p14="http://schemas.microsoft.com/office/powerpoint/2010/main" val="1742656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942833-ADA2-01A0-5255-F961897E4EB5}"/>
              </a:ext>
            </a:extLst>
          </p:cNvPr>
          <p:cNvSpPr/>
          <p:nvPr userDrawn="1"/>
        </p:nvSpPr>
        <p:spPr>
          <a:xfrm>
            <a:off x="601798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3" name="Rectangle 2">
            <a:extLst>
              <a:ext uri="{FF2B5EF4-FFF2-40B4-BE49-F238E27FC236}">
                <a16:creationId xmlns:a16="http://schemas.microsoft.com/office/drawing/2014/main" id="{EA79E996-51AD-E7DA-4E84-8E1059FD389A}"/>
              </a:ext>
            </a:extLst>
          </p:cNvPr>
          <p:cNvSpPr/>
          <p:nvPr userDrawn="1"/>
        </p:nvSpPr>
        <p:spPr>
          <a:xfrm>
            <a:off x="893151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4" name="Rectangle 3">
            <a:extLst>
              <a:ext uri="{FF2B5EF4-FFF2-40B4-BE49-F238E27FC236}">
                <a16:creationId xmlns:a16="http://schemas.microsoft.com/office/drawing/2014/main" id="{C6425C46-30C0-5F06-D4FF-5758FD453CBF}"/>
              </a:ext>
            </a:extLst>
          </p:cNvPr>
          <p:cNvSpPr/>
          <p:nvPr userDrawn="1"/>
        </p:nvSpPr>
        <p:spPr>
          <a:xfrm>
            <a:off x="601798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5" name="Rectangle 4">
            <a:extLst>
              <a:ext uri="{FF2B5EF4-FFF2-40B4-BE49-F238E27FC236}">
                <a16:creationId xmlns:a16="http://schemas.microsoft.com/office/drawing/2014/main" id="{C90C0C32-757A-E7F7-8793-06137DBCE736}"/>
              </a:ext>
            </a:extLst>
          </p:cNvPr>
          <p:cNvSpPr/>
          <p:nvPr userDrawn="1"/>
        </p:nvSpPr>
        <p:spPr>
          <a:xfrm>
            <a:off x="893151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14" name="Picture Placeholder 13">
            <a:extLst>
              <a:ext uri="{FF2B5EF4-FFF2-40B4-BE49-F238E27FC236}">
                <a16:creationId xmlns:a16="http://schemas.microsoft.com/office/drawing/2014/main" id="{01C83F7C-919E-41AE-5838-3503CB7BCEEE}"/>
              </a:ext>
            </a:extLst>
          </p:cNvPr>
          <p:cNvSpPr>
            <a:spLocks noGrp="1"/>
          </p:cNvSpPr>
          <p:nvPr>
            <p:ph type="pic" sz="quarter" idx="10"/>
          </p:nvPr>
        </p:nvSpPr>
        <p:spPr>
          <a:xfrm>
            <a:off x="6121400" y="1159893"/>
            <a:ext cx="2717133" cy="1414546"/>
          </a:xfrm>
        </p:spPr>
        <p:txBody>
          <a:bodyPr/>
          <a:lstStyle/>
          <a:p>
            <a:endParaRPr lang="en-US"/>
          </a:p>
        </p:txBody>
      </p:sp>
      <p:sp>
        <p:nvSpPr>
          <p:cNvPr id="15" name="Picture Placeholder 13">
            <a:extLst>
              <a:ext uri="{FF2B5EF4-FFF2-40B4-BE49-F238E27FC236}">
                <a16:creationId xmlns:a16="http://schemas.microsoft.com/office/drawing/2014/main" id="{78B9F559-C3AA-F485-DD5D-A705582A07AB}"/>
              </a:ext>
            </a:extLst>
          </p:cNvPr>
          <p:cNvSpPr>
            <a:spLocks noGrp="1"/>
          </p:cNvSpPr>
          <p:nvPr>
            <p:ph type="pic" sz="quarter" idx="11"/>
          </p:nvPr>
        </p:nvSpPr>
        <p:spPr>
          <a:xfrm>
            <a:off x="6121400" y="2699378"/>
            <a:ext cx="2717133" cy="1414546"/>
          </a:xfrm>
        </p:spPr>
        <p:txBody>
          <a:bodyPr/>
          <a:lstStyle/>
          <a:p>
            <a:endParaRPr lang="en-US"/>
          </a:p>
        </p:txBody>
      </p:sp>
      <p:sp>
        <p:nvSpPr>
          <p:cNvPr id="16" name="Picture Placeholder 13">
            <a:extLst>
              <a:ext uri="{FF2B5EF4-FFF2-40B4-BE49-F238E27FC236}">
                <a16:creationId xmlns:a16="http://schemas.microsoft.com/office/drawing/2014/main" id="{691745C2-20ED-E6C4-76E3-0B71CE78E6F9}"/>
              </a:ext>
            </a:extLst>
          </p:cNvPr>
          <p:cNvSpPr>
            <a:spLocks noGrp="1"/>
          </p:cNvSpPr>
          <p:nvPr>
            <p:ph type="pic" sz="quarter" idx="12"/>
          </p:nvPr>
        </p:nvSpPr>
        <p:spPr>
          <a:xfrm>
            <a:off x="8926980" y="2699835"/>
            <a:ext cx="2717133" cy="1414546"/>
          </a:xfrm>
        </p:spPr>
        <p:txBody>
          <a:bodyPr/>
          <a:lstStyle/>
          <a:p>
            <a:endParaRPr lang="en-US"/>
          </a:p>
        </p:txBody>
      </p:sp>
      <p:sp>
        <p:nvSpPr>
          <p:cNvPr id="17" name="Picture Placeholder 13">
            <a:extLst>
              <a:ext uri="{FF2B5EF4-FFF2-40B4-BE49-F238E27FC236}">
                <a16:creationId xmlns:a16="http://schemas.microsoft.com/office/drawing/2014/main" id="{0945CF7A-0F86-AE08-7F62-2DFC49C1B441}"/>
              </a:ext>
            </a:extLst>
          </p:cNvPr>
          <p:cNvSpPr>
            <a:spLocks noGrp="1"/>
          </p:cNvSpPr>
          <p:nvPr>
            <p:ph type="pic" sz="quarter" idx="13"/>
          </p:nvPr>
        </p:nvSpPr>
        <p:spPr>
          <a:xfrm>
            <a:off x="8940525" y="1154829"/>
            <a:ext cx="2717133" cy="1411986"/>
          </a:xfrm>
        </p:spPr>
        <p:txBody>
          <a:bodyPr/>
          <a:lstStyle/>
          <a:p>
            <a:endParaRPr lang="en-US"/>
          </a:p>
        </p:txBody>
      </p:sp>
      <p:sp>
        <p:nvSpPr>
          <p:cNvPr id="34" name="TextBox 33">
            <a:extLst>
              <a:ext uri="{FF2B5EF4-FFF2-40B4-BE49-F238E27FC236}">
                <a16:creationId xmlns:a16="http://schemas.microsoft.com/office/drawing/2014/main" id="{28A3AA60-9329-6C37-75A3-928DD6064F87}"/>
              </a:ext>
            </a:extLst>
          </p:cNvPr>
          <p:cNvSpPr txBox="1"/>
          <p:nvPr userDrawn="1"/>
        </p:nvSpPr>
        <p:spPr>
          <a:xfrm>
            <a:off x="8618401" y="4501499"/>
            <a:ext cx="617157" cy="169277"/>
          </a:xfrm>
          <a:prstGeom prst="rect">
            <a:avLst/>
          </a:prstGeom>
          <a:noFill/>
        </p:spPr>
        <p:txBody>
          <a:bodyPr wrap="none" lIns="0" tIns="0" rIns="0" bIns="0" rtlCol="0">
            <a:spAutoFit/>
          </a:bodyPr>
          <a:lstStyle/>
          <a:p>
            <a:pPr algn="l"/>
            <a:r>
              <a:rPr lang="en-US" sz="1100">
                <a:solidFill>
                  <a:srgbClr val="00B0F0"/>
                </a:solidFill>
              </a:rPr>
              <a:t>Timelines</a:t>
            </a:r>
          </a:p>
        </p:txBody>
      </p:sp>
      <p:sp>
        <p:nvSpPr>
          <p:cNvPr id="40" name="Rectangle 39">
            <a:extLst>
              <a:ext uri="{FF2B5EF4-FFF2-40B4-BE49-F238E27FC236}">
                <a16:creationId xmlns:a16="http://schemas.microsoft.com/office/drawing/2014/main" id="{9BA6CFEE-45C5-2B2C-5AEE-AC1501AE317F}"/>
              </a:ext>
            </a:extLst>
          </p:cNvPr>
          <p:cNvSpPr/>
          <p:nvPr userDrawn="1"/>
        </p:nvSpPr>
        <p:spPr>
          <a:xfrm>
            <a:off x="5977289" y="5208103"/>
            <a:ext cx="5787473" cy="983957"/>
          </a:xfrm>
          <a:prstGeom prst="rect">
            <a:avLst/>
          </a:prstGeom>
          <a:noFill/>
          <a:ln>
            <a:solidFill>
              <a:schemeClr val="bg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Tree>
    <p:extLst>
      <p:ext uri="{BB962C8B-B14F-4D97-AF65-F5344CB8AC3E}">
        <p14:creationId xmlns:p14="http://schemas.microsoft.com/office/powerpoint/2010/main" val="4028533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3424105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199022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
        <p:nvSpPr>
          <p:cNvPr id="15" name="Picture Placeholder 14">
            <a:extLst>
              <a:ext uri="{FF2B5EF4-FFF2-40B4-BE49-F238E27FC236}">
                <a16:creationId xmlns:a16="http://schemas.microsoft.com/office/drawing/2014/main" id="{BCDB429C-4A2B-11D9-8B09-0C93DD7FDC1F}"/>
              </a:ext>
            </a:extLst>
          </p:cNvPr>
          <p:cNvSpPr>
            <a:spLocks noGrp="1"/>
          </p:cNvSpPr>
          <p:nvPr>
            <p:ph type="pic" sz="quarter" idx="19"/>
          </p:nvPr>
        </p:nvSpPr>
        <p:spPr bwMode="gray">
          <a:xfrm>
            <a:off x="6438900" y="0"/>
            <a:ext cx="5753100" cy="6858000"/>
          </a:xfrm>
          <a:custGeom>
            <a:avLst/>
            <a:gdLst>
              <a:gd name="connsiteX0" fmla="*/ 2225702 w 5753100"/>
              <a:gd name="connsiteY0" fmla="*/ 0 h 6858000"/>
              <a:gd name="connsiteX1" fmla="*/ 5753100 w 5753100"/>
              <a:gd name="connsiteY1" fmla="*/ 0 h 6858000"/>
              <a:gd name="connsiteX2" fmla="*/ 3527398 w 5753100"/>
              <a:gd name="connsiteY2" fmla="*/ 6858000 h 6858000"/>
              <a:gd name="connsiteX3" fmla="*/ 0 w 57531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53100" h="6858000">
                <a:moveTo>
                  <a:pt x="2225702" y="0"/>
                </a:moveTo>
                <a:lnTo>
                  <a:pt x="5753100" y="0"/>
                </a:lnTo>
                <a:lnTo>
                  <a:pt x="3527398" y="6858000"/>
                </a:lnTo>
                <a:lnTo>
                  <a:pt x="0" y="6858000"/>
                </a:lnTo>
                <a:close/>
              </a:path>
            </a:pathLst>
          </a:custGeom>
          <a:ln>
            <a:solidFill>
              <a:schemeClr val="tx1"/>
            </a:solidFill>
          </a:ln>
        </p:spPr>
        <p:txBody>
          <a:bodyPr wrap="square">
            <a:noAutofit/>
          </a:bodyPr>
          <a:lstStyle/>
          <a:p>
            <a:endParaRPr lang="en-US"/>
          </a:p>
        </p:txBody>
      </p:sp>
    </p:spTree>
    <p:extLst>
      <p:ext uri="{BB962C8B-B14F-4D97-AF65-F5344CB8AC3E}">
        <p14:creationId xmlns:p14="http://schemas.microsoft.com/office/powerpoint/2010/main" val="331817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550914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189927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147602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167349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041402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684133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en-US"/>
              <a:t>Click icon to add picture</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3010973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180833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740925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336062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568466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spTree>
    <p:extLst>
      <p:ext uri="{BB962C8B-B14F-4D97-AF65-F5344CB8AC3E}">
        <p14:creationId xmlns:p14="http://schemas.microsoft.com/office/powerpoint/2010/main" val="2199892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err="1"/>
              <a:t>Subheader</a:t>
            </a:r>
            <a:r>
              <a:rPr lang="en-US" noProof="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2623503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1389849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12305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3552317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6777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3932056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4475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202360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431665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106900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14990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42393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366306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9480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3282207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120204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1438269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496494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516448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078927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White</a:t>
            </a:r>
            <a:endParaRPr lang="en-IN"/>
          </a:p>
        </p:txBody>
      </p:sp>
    </p:spTree>
    <p:extLst>
      <p:ext uri="{BB962C8B-B14F-4D97-AF65-F5344CB8AC3E}">
        <p14:creationId xmlns:p14="http://schemas.microsoft.com/office/powerpoint/2010/main" val="152456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a:t>Headline in The Group Head Light 28pt, Deep Space Blue</a:t>
            </a:r>
            <a:endParaRPr lang="en-IN"/>
          </a:p>
        </p:txBody>
      </p:sp>
    </p:spTree>
    <p:extLst>
      <p:ext uri="{BB962C8B-B14F-4D97-AF65-F5344CB8AC3E}">
        <p14:creationId xmlns:p14="http://schemas.microsoft.com/office/powerpoint/2010/main" val="3575975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011859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312679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362714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a:solidFill>
                  <a:srgbClr val="002733"/>
                </a:solidFill>
              </a:rPr>
              <a:t>These logos are available </a:t>
            </a:r>
            <a:br>
              <a:rPr lang="en-GB" sz="1000">
                <a:solidFill>
                  <a:srgbClr val="002733"/>
                </a:solidFill>
              </a:rPr>
            </a:br>
            <a:r>
              <a:rPr lang="en-GB" sz="100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184844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2856893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a:t>Relevant assets available on the Volkswagen Group CD portal.</a:t>
            </a:r>
            <a:endParaRPr lang="en-GB" sz="1200"/>
          </a:p>
          <a:p>
            <a:endParaRPr lang="en-GB" sz="120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660178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2102199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800279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2675536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1191449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se content status markers are available as graphic assets you can copy from master view.</a:t>
            </a:r>
          </a:p>
          <a:p>
            <a:r>
              <a:rPr lang="en-GB" b="0">
                <a:solidFill>
                  <a:schemeClr val="tx2"/>
                </a:solidFill>
              </a:rPr>
              <a:t>The selected tag will need to be placed </a:t>
            </a:r>
            <a:br>
              <a:rPr lang="en-GB" b="0">
                <a:solidFill>
                  <a:schemeClr val="tx2"/>
                </a:solidFill>
              </a:rPr>
            </a:br>
            <a:r>
              <a:rPr lang="en-GB" b="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2033489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a:solidFill>
                  <a:schemeClr val="tx2"/>
                </a:solidFill>
              </a:rPr>
              <a:t>The classification set as public, internal, confidential and secret will be automatically set by Office 365. </a:t>
            </a:r>
            <a:br>
              <a:rPr lang="en-GB" b="0">
                <a:solidFill>
                  <a:schemeClr val="tx2"/>
                </a:solidFill>
              </a:rPr>
            </a:br>
            <a:r>
              <a:rPr lang="en-GB" b="0">
                <a:solidFill>
                  <a:schemeClr val="tx2"/>
                </a:solidFill>
              </a:rPr>
              <a:t>As soon as the document is created, the class has to be defined. </a:t>
            </a:r>
          </a:p>
          <a:p>
            <a:r>
              <a:rPr lang="en-GB" b="0">
                <a:solidFill>
                  <a:schemeClr val="tx2"/>
                </a:solidFill>
              </a:rPr>
              <a:t>On the title slide, the class has to be set manually and in capital letters below the title — please add it manually. </a:t>
            </a:r>
          </a:p>
          <a:p>
            <a:r>
              <a:rPr lang="en-GB" b="0">
                <a:solidFill>
                  <a:schemeClr val="tx2"/>
                </a:solidFill>
              </a:rPr>
              <a:t>The position of the confidentiality class on the content slide is bottom left, automatically set by the software.  </a:t>
            </a:r>
          </a:p>
          <a:p>
            <a:r>
              <a:rPr lang="en-GB" b="0">
                <a:solidFill>
                  <a:schemeClr val="tx2"/>
                </a:solidFill>
              </a:rPr>
              <a:t>REMARK: The confidentiality classification does not appear on slides with full-page pictures.  </a:t>
            </a:r>
          </a:p>
          <a:p>
            <a:r>
              <a:rPr lang="en-GB" b="0">
                <a:solidFill>
                  <a:schemeClr val="tx2"/>
                </a:solidFill>
              </a:rPr>
              <a:t>You can find detailed information about confidentiality classification in GroupWiki: </a:t>
            </a:r>
            <a:br>
              <a:rPr lang="en-GB" b="0"/>
            </a:br>
            <a:r>
              <a:rPr lang="en-GB" b="0">
                <a:hlinkClick r:id="rId2"/>
              </a:rPr>
              <a:t>https://group-wiki.wob.vw.vwg/wikis/pages/viewpage.action?pageId=527796483</a:t>
            </a:r>
            <a:r>
              <a:rPr lang="en-GB" b="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a:t>Confidentiality Classification</a:t>
            </a:r>
            <a:endParaRPr lang="ar-AE"/>
          </a:p>
        </p:txBody>
      </p:sp>
    </p:spTree>
    <p:extLst>
      <p:ext uri="{BB962C8B-B14F-4D97-AF65-F5344CB8AC3E}">
        <p14:creationId xmlns:p14="http://schemas.microsoft.com/office/powerpoint/2010/main" val="2045987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static date </a:t>
              </a:r>
              <a:r>
                <a:rPr lang="en-GB" sz="140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a:t>The footer consists of three elements, which are right-aligned. At the bottom right you will find the information regarding organisational unit and CSD-class, next to the date and the page number in the right corner. </a:t>
              </a:r>
            </a:p>
            <a:p>
              <a:endParaRPr lang="en-GB" sz="1400"/>
            </a:p>
            <a:p>
              <a:r>
                <a:rPr lang="en-GB" sz="1400"/>
                <a:t>The information given in the footer can be adjusted through </a:t>
              </a:r>
              <a:r>
                <a:rPr lang="en-GB" sz="1400" b="1">
                  <a:solidFill>
                    <a:srgbClr val="002733"/>
                  </a:solidFill>
                </a:rPr>
                <a:t>Insert, then Header &amp; Footer.</a:t>
              </a:r>
            </a:p>
            <a:p>
              <a:endParaRPr lang="en-GB" sz="1400"/>
            </a:p>
            <a:p>
              <a:r>
                <a:rPr lang="en-GB" sz="1400"/>
                <a:t>HINT: Information about CSD-class (safekeeping period) can be found in the Volkswagen Net (Intranet). Just write “</a:t>
              </a:r>
              <a:r>
                <a:rPr lang="en-GB" sz="1400" err="1"/>
                <a:t>ksu</a:t>
              </a:r>
              <a:r>
                <a:rPr lang="en-GB" sz="140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3791399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slide with gradient 1">
    <p:bg bwMode="ltGray">
      <p:bgRef idx="1001">
        <a:schemeClr val="bg1"/>
      </p:bgRef>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ED7A605A-05B6-B57D-90F9-FA16AE4FF6F6}"/>
              </a:ext>
            </a:extLst>
          </p:cNvPr>
          <p:cNvSpPr>
            <a:spLocks noGrp="1"/>
          </p:cNvSpPr>
          <p:nvPr>
            <p:ph type="pic" sz="quarter" idx="10" hasCustomPrompt="1"/>
          </p:nvPr>
        </p:nvSpPr>
        <p:spPr bwMode="gray">
          <a:xfrm>
            <a:off x="5350214" y="0"/>
            <a:ext cx="6841787" cy="6858000"/>
          </a:xfrm>
          <a:custGeom>
            <a:avLst/>
            <a:gdLst>
              <a:gd name="connsiteX0" fmla="*/ 6841787 w 6841787"/>
              <a:gd name="connsiteY0" fmla="*/ 0 h 6858000"/>
              <a:gd name="connsiteX1" fmla="*/ 6841787 w 6841787"/>
              <a:gd name="connsiteY1" fmla="*/ 6858000 h 6858000"/>
              <a:gd name="connsiteX2" fmla="*/ 0 w 6841787"/>
              <a:gd name="connsiteY2" fmla="*/ 4503906 h 6858000"/>
              <a:gd name="connsiteX3" fmla="*/ 0 w 6841787"/>
              <a:gd name="connsiteY3" fmla="*/ 2354094 h 6858000"/>
            </a:gdLst>
            <a:ahLst/>
            <a:cxnLst>
              <a:cxn ang="0">
                <a:pos x="connsiteX0" y="connsiteY0"/>
              </a:cxn>
              <a:cxn ang="0">
                <a:pos x="connsiteX1" y="connsiteY1"/>
              </a:cxn>
              <a:cxn ang="0">
                <a:pos x="connsiteX2" y="connsiteY2"/>
              </a:cxn>
              <a:cxn ang="0">
                <a:pos x="connsiteX3" y="connsiteY3"/>
              </a:cxn>
            </a:cxnLst>
            <a:rect l="l" t="t" r="r" b="b"/>
            <a:pathLst>
              <a:path w="6841787" h="6858000">
                <a:moveTo>
                  <a:pt x="6841787" y="0"/>
                </a:moveTo>
                <a:lnTo>
                  <a:pt x="6841787" y="6858000"/>
                </a:lnTo>
                <a:lnTo>
                  <a:pt x="0" y="4503906"/>
                </a:lnTo>
                <a:lnTo>
                  <a:pt x="0" y="2354094"/>
                </a:lnTo>
                <a:close/>
              </a:path>
            </a:pathLst>
          </a:custGeom>
        </p:spPr>
        <p:txBody>
          <a:bodyPr wrap="square">
            <a:noAutofit/>
          </a:bodyPr>
          <a:lstStyle/>
          <a:p>
            <a:r>
              <a:rPr lang="en-US"/>
              <a:t> </a:t>
            </a:r>
          </a:p>
        </p:txBody>
      </p:sp>
    </p:spTree>
    <p:extLst>
      <p:ext uri="{BB962C8B-B14F-4D97-AF65-F5344CB8AC3E}">
        <p14:creationId xmlns:p14="http://schemas.microsoft.com/office/powerpoint/2010/main" val="2942377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Intro slide Deep Space Blue">
    <p:bg bwMode="grayWhite">
      <p:bgPr>
        <a:solidFill>
          <a:srgbClr val="00273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71D108A-02C1-9622-1687-431188658FA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89808" b="3717"/>
          <a:stretch/>
        </p:blipFill>
        <p:spPr>
          <a:xfrm>
            <a:off x="11544357" y="172020"/>
            <a:ext cx="551437" cy="4782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36690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942833-ADA2-01A0-5255-F961897E4EB5}"/>
              </a:ext>
            </a:extLst>
          </p:cNvPr>
          <p:cNvSpPr/>
          <p:nvPr userDrawn="1"/>
        </p:nvSpPr>
        <p:spPr>
          <a:xfrm>
            <a:off x="601798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3" name="Rectangle 2">
            <a:extLst>
              <a:ext uri="{FF2B5EF4-FFF2-40B4-BE49-F238E27FC236}">
                <a16:creationId xmlns:a16="http://schemas.microsoft.com/office/drawing/2014/main" id="{EA79E996-51AD-E7DA-4E84-8E1059FD389A}"/>
              </a:ext>
            </a:extLst>
          </p:cNvPr>
          <p:cNvSpPr/>
          <p:nvPr userDrawn="1"/>
        </p:nvSpPr>
        <p:spPr>
          <a:xfrm>
            <a:off x="8931513" y="1068415"/>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4" name="Rectangle 3">
            <a:extLst>
              <a:ext uri="{FF2B5EF4-FFF2-40B4-BE49-F238E27FC236}">
                <a16:creationId xmlns:a16="http://schemas.microsoft.com/office/drawing/2014/main" id="{C6425C46-30C0-5F06-D4FF-5758FD453CBF}"/>
              </a:ext>
            </a:extLst>
          </p:cNvPr>
          <p:cNvSpPr/>
          <p:nvPr userDrawn="1"/>
        </p:nvSpPr>
        <p:spPr>
          <a:xfrm>
            <a:off x="601798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5" name="Rectangle 4">
            <a:extLst>
              <a:ext uri="{FF2B5EF4-FFF2-40B4-BE49-F238E27FC236}">
                <a16:creationId xmlns:a16="http://schemas.microsoft.com/office/drawing/2014/main" id="{C90C0C32-757A-E7F7-8793-06137DBCE736}"/>
              </a:ext>
            </a:extLst>
          </p:cNvPr>
          <p:cNvSpPr/>
          <p:nvPr userDrawn="1"/>
        </p:nvSpPr>
        <p:spPr>
          <a:xfrm>
            <a:off x="8931513" y="2688756"/>
            <a:ext cx="2833249" cy="1518039"/>
          </a:xfrm>
          <a:prstGeom prst="rect">
            <a:avLst/>
          </a:prstGeom>
          <a:no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
        <p:nvSpPr>
          <p:cNvPr id="14" name="Picture Placeholder 13">
            <a:extLst>
              <a:ext uri="{FF2B5EF4-FFF2-40B4-BE49-F238E27FC236}">
                <a16:creationId xmlns:a16="http://schemas.microsoft.com/office/drawing/2014/main" id="{01C83F7C-919E-41AE-5838-3503CB7BCEEE}"/>
              </a:ext>
            </a:extLst>
          </p:cNvPr>
          <p:cNvSpPr>
            <a:spLocks noGrp="1"/>
          </p:cNvSpPr>
          <p:nvPr>
            <p:ph type="pic" sz="quarter" idx="10"/>
          </p:nvPr>
        </p:nvSpPr>
        <p:spPr>
          <a:xfrm>
            <a:off x="6121400" y="1159893"/>
            <a:ext cx="2717133" cy="1414546"/>
          </a:xfrm>
        </p:spPr>
        <p:txBody>
          <a:bodyPr/>
          <a:lstStyle/>
          <a:p>
            <a:endParaRPr lang="en-US"/>
          </a:p>
        </p:txBody>
      </p:sp>
      <p:sp>
        <p:nvSpPr>
          <p:cNvPr id="15" name="Picture Placeholder 13">
            <a:extLst>
              <a:ext uri="{FF2B5EF4-FFF2-40B4-BE49-F238E27FC236}">
                <a16:creationId xmlns:a16="http://schemas.microsoft.com/office/drawing/2014/main" id="{78B9F559-C3AA-F485-DD5D-A705582A07AB}"/>
              </a:ext>
            </a:extLst>
          </p:cNvPr>
          <p:cNvSpPr>
            <a:spLocks noGrp="1"/>
          </p:cNvSpPr>
          <p:nvPr>
            <p:ph type="pic" sz="quarter" idx="11"/>
          </p:nvPr>
        </p:nvSpPr>
        <p:spPr>
          <a:xfrm>
            <a:off x="6121400" y="2699378"/>
            <a:ext cx="2717133" cy="1414546"/>
          </a:xfrm>
        </p:spPr>
        <p:txBody>
          <a:bodyPr/>
          <a:lstStyle/>
          <a:p>
            <a:endParaRPr lang="en-US"/>
          </a:p>
        </p:txBody>
      </p:sp>
      <p:sp>
        <p:nvSpPr>
          <p:cNvPr id="16" name="Picture Placeholder 13">
            <a:extLst>
              <a:ext uri="{FF2B5EF4-FFF2-40B4-BE49-F238E27FC236}">
                <a16:creationId xmlns:a16="http://schemas.microsoft.com/office/drawing/2014/main" id="{691745C2-20ED-E6C4-76E3-0B71CE78E6F9}"/>
              </a:ext>
            </a:extLst>
          </p:cNvPr>
          <p:cNvSpPr>
            <a:spLocks noGrp="1"/>
          </p:cNvSpPr>
          <p:nvPr>
            <p:ph type="pic" sz="quarter" idx="12"/>
          </p:nvPr>
        </p:nvSpPr>
        <p:spPr>
          <a:xfrm>
            <a:off x="8926980" y="2699835"/>
            <a:ext cx="2717133" cy="1414546"/>
          </a:xfrm>
        </p:spPr>
        <p:txBody>
          <a:bodyPr/>
          <a:lstStyle/>
          <a:p>
            <a:endParaRPr lang="en-US"/>
          </a:p>
        </p:txBody>
      </p:sp>
      <p:sp>
        <p:nvSpPr>
          <p:cNvPr id="17" name="Picture Placeholder 13">
            <a:extLst>
              <a:ext uri="{FF2B5EF4-FFF2-40B4-BE49-F238E27FC236}">
                <a16:creationId xmlns:a16="http://schemas.microsoft.com/office/drawing/2014/main" id="{0945CF7A-0F86-AE08-7F62-2DFC49C1B441}"/>
              </a:ext>
            </a:extLst>
          </p:cNvPr>
          <p:cNvSpPr>
            <a:spLocks noGrp="1"/>
          </p:cNvSpPr>
          <p:nvPr>
            <p:ph type="pic" sz="quarter" idx="13"/>
          </p:nvPr>
        </p:nvSpPr>
        <p:spPr>
          <a:xfrm>
            <a:off x="8940525" y="1154829"/>
            <a:ext cx="2717133" cy="1411986"/>
          </a:xfrm>
        </p:spPr>
        <p:txBody>
          <a:bodyPr/>
          <a:lstStyle/>
          <a:p>
            <a:endParaRPr lang="en-US"/>
          </a:p>
        </p:txBody>
      </p:sp>
      <p:sp>
        <p:nvSpPr>
          <p:cNvPr id="28" name="TextBox 27">
            <a:extLst>
              <a:ext uri="{FF2B5EF4-FFF2-40B4-BE49-F238E27FC236}">
                <a16:creationId xmlns:a16="http://schemas.microsoft.com/office/drawing/2014/main" id="{B7B8AE01-9AF8-78AB-A678-C6EA89145BCE}"/>
              </a:ext>
            </a:extLst>
          </p:cNvPr>
          <p:cNvSpPr txBox="1"/>
          <p:nvPr userDrawn="1"/>
        </p:nvSpPr>
        <p:spPr>
          <a:xfrm>
            <a:off x="5977289" y="4863366"/>
            <a:ext cx="481100" cy="152147"/>
          </a:xfrm>
          <a:prstGeom prst="rect">
            <a:avLst/>
          </a:prstGeom>
          <a:noFill/>
        </p:spPr>
        <p:txBody>
          <a:bodyPr wrap="none" lIns="0" tIns="0" rIns="0" bIns="0" rtlCol="0">
            <a:spAutoFit/>
          </a:bodyPr>
          <a:lstStyle/>
          <a:p>
            <a:pPr algn="l"/>
            <a:r>
              <a:rPr lang="en-US" sz="1000">
                <a:solidFill>
                  <a:schemeClr val="tx2"/>
                </a:solidFill>
              </a:rPr>
              <a:t>Q1 2024</a:t>
            </a:r>
          </a:p>
        </p:txBody>
      </p:sp>
      <p:sp>
        <p:nvSpPr>
          <p:cNvPr id="29" name="TextBox 28">
            <a:extLst>
              <a:ext uri="{FF2B5EF4-FFF2-40B4-BE49-F238E27FC236}">
                <a16:creationId xmlns:a16="http://schemas.microsoft.com/office/drawing/2014/main" id="{0CCBBDAE-E095-DCE4-9055-1E7168C8D7FA}"/>
              </a:ext>
            </a:extLst>
          </p:cNvPr>
          <p:cNvSpPr txBox="1"/>
          <p:nvPr userDrawn="1"/>
        </p:nvSpPr>
        <p:spPr>
          <a:xfrm>
            <a:off x="7148225" y="4863366"/>
            <a:ext cx="481100" cy="152147"/>
          </a:xfrm>
          <a:prstGeom prst="rect">
            <a:avLst/>
          </a:prstGeom>
          <a:noFill/>
        </p:spPr>
        <p:txBody>
          <a:bodyPr wrap="none" lIns="0" tIns="0" rIns="0" bIns="0" rtlCol="0">
            <a:spAutoFit/>
          </a:bodyPr>
          <a:lstStyle/>
          <a:p>
            <a:pPr algn="l"/>
            <a:r>
              <a:rPr lang="en-US" sz="1000">
                <a:solidFill>
                  <a:schemeClr val="tx2"/>
                </a:solidFill>
              </a:rPr>
              <a:t>Q2 2024</a:t>
            </a:r>
          </a:p>
        </p:txBody>
      </p:sp>
      <p:sp>
        <p:nvSpPr>
          <p:cNvPr id="30" name="TextBox 29">
            <a:extLst>
              <a:ext uri="{FF2B5EF4-FFF2-40B4-BE49-F238E27FC236}">
                <a16:creationId xmlns:a16="http://schemas.microsoft.com/office/drawing/2014/main" id="{D25D7463-756D-2EA8-9111-CE00AB55C700}"/>
              </a:ext>
            </a:extLst>
          </p:cNvPr>
          <p:cNvSpPr txBox="1"/>
          <p:nvPr userDrawn="1"/>
        </p:nvSpPr>
        <p:spPr>
          <a:xfrm>
            <a:off x="8319161" y="4863366"/>
            <a:ext cx="481100" cy="152147"/>
          </a:xfrm>
          <a:prstGeom prst="rect">
            <a:avLst/>
          </a:prstGeom>
          <a:noFill/>
        </p:spPr>
        <p:txBody>
          <a:bodyPr wrap="none" lIns="0" tIns="0" rIns="0" bIns="0" rtlCol="0">
            <a:spAutoFit/>
          </a:bodyPr>
          <a:lstStyle/>
          <a:p>
            <a:pPr algn="l"/>
            <a:r>
              <a:rPr lang="en-US" sz="1000">
                <a:solidFill>
                  <a:schemeClr val="tx2"/>
                </a:solidFill>
              </a:rPr>
              <a:t>Q3 2024</a:t>
            </a:r>
          </a:p>
        </p:txBody>
      </p:sp>
      <p:sp>
        <p:nvSpPr>
          <p:cNvPr id="31" name="TextBox 30">
            <a:extLst>
              <a:ext uri="{FF2B5EF4-FFF2-40B4-BE49-F238E27FC236}">
                <a16:creationId xmlns:a16="http://schemas.microsoft.com/office/drawing/2014/main" id="{7728456F-9541-6FC2-473A-49E9B54EBB82}"/>
              </a:ext>
            </a:extLst>
          </p:cNvPr>
          <p:cNvSpPr txBox="1"/>
          <p:nvPr userDrawn="1"/>
        </p:nvSpPr>
        <p:spPr>
          <a:xfrm>
            <a:off x="9490097" y="4863366"/>
            <a:ext cx="481100" cy="152147"/>
          </a:xfrm>
          <a:prstGeom prst="rect">
            <a:avLst/>
          </a:prstGeom>
          <a:noFill/>
        </p:spPr>
        <p:txBody>
          <a:bodyPr wrap="none" lIns="0" tIns="0" rIns="0" bIns="0" rtlCol="0">
            <a:spAutoFit/>
          </a:bodyPr>
          <a:lstStyle/>
          <a:p>
            <a:pPr algn="l"/>
            <a:r>
              <a:rPr lang="en-US" sz="1000">
                <a:solidFill>
                  <a:schemeClr val="tx2"/>
                </a:solidFill>
              </a:rPr>
              <a:t>Q4 2024</a:t>
            </a:r>
          </a:p>
        </p:txBody>
      </p:sp>
      <p:sp>
        <p:nvSpPr>
          <p:cNvPr id="32" name="TextBox 31">
            <a:extLst>
              <a:ext uri="{FF2B5EF4-FFF2-40B4-BE49-F238E27FC236}">
                <a16:creationId xmlns:a16="http://schemas.microsoft.com/office/drawing/2014/main" id="{7C2DB3B9-9F74-66AF-B563-885CD85A06E8}"/>
              </a:ext>
            </a:extLst>
          </p:cNvPr>
          <p:cNvSpPr txBox="1"/>
          <p:nvPr userDrawn="1"/>
        </p:nvSpPr>
        <p:spPr>
          <a:xfrm>
            <a:off x="10661033" y="4839990"/>
            <a:ext cx="481100" cy="152147"/>
          </a:xfrm>
          <a:prstGeom prst="rect">
            <a:avLst/>
          </a:prstGeom>
          <a:noFill/>
        </p:spPr>
        <p:txBody>
          <a:bodyPr wrap="none" lIns="0" tIns="0" rIns="0" bIns="0" rtlCol="0">
            <a:spAutoFit/>
          </a:bodyPr>
          <a:lstStyle/>
          <a:p>
            <a:pPr algn="l"/>
            <a:r>
              <a:rPr lang="en-US" sz="1000">
                <a:solidFill>
                  <a:schemeClr val="tx2"/>
                </a:solidFill>
              </a:rPr>
              <a:t>Q1 2025</a:t>
            </a:r>
          </a:p>
        </p:txBody>
      </p:sp>
      <p:sp>
        <p:nvSpPr>
          <p:cNvPr id="34" name="TextBox 33">
            <a:extLst>
              <a:ext uri="{FF2B5EF4-FFF2-40B4-BE49-F238E27FC236}">
                <a16:creationId xmlns:a16="http://schemas.microsoft.com/office/drawing/2014/main" id="{28A3AA60-9329-6C37-75A3-928DD6064F87}"/>
              </a:ext>
            </a:extLst>
          </p:cNvPr>
          <p:cNvSpPr txBox="1"/>
          <p:nvPr userDrawn="1"/>
        </p:nvSpPr>
        <p:spPr>
          <a:xfrm>
            <a:off x="8618401" y="4501499"/>
            <a:ext cx="617157" cy="169277"/>
          </a:xfrm>
          <a:prstGeom prst="rect">
            <a:avLst/>
          </a:prstGeom>
          <a:noFill/>
        </p:spPr>
        <p:txBody>
          <a:bodyPr wrap="none" lIns="0" tIns="0" rIns="0" bIns="0" rtlCol="0">
            <a:spAutoFit/>
          </a:bodyPr>
          <a:lstStyle/>
          <a:p>
            <a:pPr algn="l"/>
            <a:r>
              <a:rPr lang="en-US" sz="1100">
                <a:solidFill>
                  <a:srgbClr val="00B0F0"/>
                </a:solidFill>
              </a:rPr>
              <a:t>Timelines</a:t>
            </a:r>
          </a:p>
        </p:txBody>
      </p:sp>
      <p:sp>
        <p:nvSpPr>
          <p:cNvPr id="39" name="TextBox 38">
            <a:extLst>
              <a:ext uri="{FF2B5EF4-FFF2-40B4-BE49-F238E27FC236}">
                <a16:creationId xmlns:a16="http://schemas.microsoft.com/office/drawing/2014/main" id="{328311FE-45C3-34DA-7655-6EB3BD111345}"/>
              </a:ext>
            </a:extLst>
          </p:cNvPr>
          <p:cNvSpPr txBox="1"/>
          <p:nvPr userDrawn="1"/>
        </p:nvSpPr>
        <p:spPr>
          <a:xfrm>
            <a:off x="11455869" y="4863366"/>
            <a:ext cx="189154" cy="153888"/>
          </a:xfrm>
          <a:prstGeom prst="rect">
            <a:avLst/>
          </a:prstGeom>
          <a:noFill/>
        </p:spPr>
        <p:txBody>
          <a:bodyPr wrap="none" lIns="0" tIns="0" rIns="0" bIns="0" rtlCol="0">
            <a:spAutoFit/>
          </a:bodyPr>
          <a:lstStyle/>
          <a:p>
            <a:pPr algn="l"/>
            <a:r>
              <a:rPr lang="en-US" sz="1000">
                <a:solidFill>
                  <a:schemeClr val="tx2"/>
                </a:solidFill>
              </a:rPr>
              <a:t>…….</a:t>
            </a:r>
          </a:p>
        </p:txBody>
      </p:sp>
      <p:sp>
        <p:nvSpPr>
          <p:cNvPr id="40" name="Rectangle 39">
            <a:extLst>
              <a:ext uri="{FF2B5EF4-FFF2-40B4-BE49-F238E27FC236}">
                <a16:creationId xmlns:a16="http://schemas.microsoft.com/office/drawing/2014/main" id="{9BA6CFEE-45C5-2B2C-5AEE-AC1501AE317F}"/>
              </a:ext>
            </a:extLst>
          </p:cNvPr>
          <p:cNvSpPr/>
          <p:nvPr userDrawn="1"/>
        </p:nvSpPr>
        <p:spPr>
          <a:xfrm>
            <a:off x="5977289" y="5208103"/>
            <a:ext cx="5787473" cy="983957"/>
          </a:xfrm>
          <a:prstGeom prst="rect">
            <a:avLst/>
          </a:prstGeom>
          <a:noFill/>
          <a:ln>
            <a:solidFill>
              <a:schemeClr val="bg1">
                <a:lumMod val="65000"/>
                <a:lumOff val="35000"/>
              </a:schemeClr>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a:p>
        </p:txBody>
      </p:sp>
    </p:spTree>
    <p:extLst>
      <p:ext uri="{BB962C8B-B14F-4D97-AF65-F5344CB8AC3E}">
        <p14:creationId xmlns:p14="http://schemas.microsoft.com/office/powerpoint/2010/main" val="3526017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2350873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Pr>
        <a:solidFill>
          <a:srgbClr val="00273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
        <p:nvSpPr>
          <p:cNvPr id="15" name="Picture Placeholder 14">
            <a:extLst>
              <a:ext uri="{FF2B5EF4-FFF2-40B4-BE49-F238E27FC236}">
                <a16:creationId xmlns:a16="http://schemas.microsoft.com/office/drawing/2014/main" id="{BCDB429C-4A2B-11D9-8B09-0C93DD7FDC1F}"/>
              </a:ext>
            </a:extLst>
          </p:cNvPr>
          <p:cNvSpPr>
            <a:spLocks noGrp="1"/>
          </p:cNvSpPr>
          <p:nvPr>
            <p:ph type="pic" sz="quarter" idx="19"/>
          </p:nvPr>
        </p:nvSpPr>
        <p:spPr bwMode="gray">
          <a:xfrm>
            <a:off x="6438900" y="0"/>
            <a:ext cx="5753100" cy="6858000"/>
          </a:xfrm>
          <a:custGeom>
            <a:avLst/>
            <a:gdLst>
              <a:gd name="connsiteX0" fmla="*/ 2225702 w 5753100"/>
              <a:gd name="connsiteY0" fmla="*/ 0 h 6858000"/>
              <a:gd name="connsiteX1" fmla="*/ 5753100 w 5753100"/>
              <a:gd name="connsiteY1" fmla="*/ 0 h 6858000"/>
              <a:gd name="connsiteX2" fmla="*/ 3527398 w 5753100"/>
              <a:gd name="connsiteY2" fmla="*/ 6858000 h 6858000"/>
              <a:gd name="connsiteX3" fmla="*/ 0 w 57531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53100" h="6858000">
                <a:moveTo>
                  <a:pt x="2225702" y="0"/>
                </a:moveTo>
                <a:lnTo>
                  <a:pt x="5753100" y="0"/>
                </a:lnTo>
                <a:lnTo>
                  <a:pt x="3527398" y="6858000"/>
                </a:lnTo>
                <a:lnTo>
                  <a:pt x="0" y="6858000"/>
                </a:lnTo>
                <a:close/>
              </a:path>
            </a:pathLst>
          </a:custGeom>
          <a:ln>
            <a:solidFill>
              <a:schemeClr val="tx1"/>
            </a:solidFill>
          </a:ln>
        </p:spPr>
        <p:txBody>
          <a:bodyPr wrap="square">
            <a:noAutofit/>
          </a:bodyPr>
          <a:lstStyle/>
          <a:p>
            <a:endParaRPr lang="en-US"/>
          </a:p>
        </p:txBody>
      </p:sp>
    </p:spTree>
    <p:extLst>
      <p:ext uri="{BB962C8B-B14F-4D97-AF65-F5344CB8AC3E}">
        <p14:creationId xmlns:p14="http://schemas.microsoft.com/office/powerpoint/2010/main" val="2721448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tags" Target="../tags/tag3.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119.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oleObject" Target="../embeddings/oleObject3.bin"/><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theme" Target="../theme/theme3.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4" Type="http://schemas.openxmlformats.org/officeDocument/2006/relationships/slideLayout" Target="../slideLayouts/slideLayout145.xml"/><Relationship Id="rId9" Type="http://schemas.openxmlformats.org/officeDocument/2006/relationships/image" Target="../media/image15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heme" Target="../theme/theme5.xml"/><Relationship Id="rId3" Type="http://schemas.openxmlformats.org/officeDocument/2006/relationships/slideLayout" Target="../slideLayouts/slideLayout151.xml"/><Relationship Id="rId21" Type="http://schemas.openxmlformats.org/officeDocument/2006/relationships/image" Target="../media/image157.emf"/><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oleObject" Target="../embeddings/oleObject4.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image" Target="../media/image159.png"/><Relationship Id="rId10" Type="http://schemas.openxmlformats.org/officeDocument/2006/relationships/slideLayout" Target="../slideLayouts/slideLayout158.xml"/><Relationship Id="rId19" Type="http://schemas.openxmlformats.org/officeDocument/2006/relationships/tags" Target="../tags/tag4.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158.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47" Type="http://schemas.openxmlformats.org/officeDocument/2006/relationships/slideLayout" Target="../slideLayouts/slideLayout212.xml"/><Relationship Id="rId50" Type="http://schemas.openxmlformats.org/officeDocument/2006/relationships/oleObject" Target="../embeddings/oleObject19.bin"/><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slideLayout" Target="../slideLayouts/slideLayout210.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49" Type="http://schemas.openxmlformats.org/officeDocument/2006/relationships/tags" Target="../tags/tag22.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52" Type="http://schemas.openxmlformats.org/officeDocument/2006/relationships/image" Target="../media/image163.png"/><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48" Type="http://schemas.openxmlformats.org/officeDocument/2006/relationships/theme" Target="../theme/theme6.xml"/><Relationship Id="rId8" Type="http://schemas.openxmlformats.org/officeDocument/2006/relationships/slideLayout" Target="../slideLayouts/slideLayout173.xml"/><Relationship Id="rId51" Type="http://schemas.openxmlformats.org/officeDocument/2006/relationships/image" Target="../media/image162.emf"/><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46" Type="http://schemas.openxmlformats.org/officeDocument/2006/relationships/slideLayout" Target="../slideLayouts/slideLayout211.xml"/><Relationship Id="rId20" Type="http://schemas.openxmlformats.org/officeDocument/2006/relationships/slideLayout" Target="../slideLayouts/slideLayout185.xml"/><Relationship Id="rId41" Type="http://schemas.openxmlformats.org/officeDocument/2006/relationships/slideLayout" Target="../slideLayouts/slideLayout206.xml"/><Relationship Id="rId1" Type="http://schemas.openxmlformats.org/officeDocument/2006/relationships/slideLayout" Target="../slideLayouts/slideLayout166.xml"/><Relationship Id="rId6" Type="http://schemas.openxmlformats.org/officeDocument/2006/relationships/slideLayout" Target="../slideLayouts/slideLayout17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9" Type="http://schemas.openxmlformats.org/officeDocument/2006/relationships/slideLayout" Target="../slideLayouts/slideLayout251.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50" Type="http://schemas.openxmlformats.org/officeDocument/2006/relationships/oleObject" Target="../embeddings/oleObject20.bin"/><Relationship Id="rId7" Type="http://schemas.openxmlformats.org/officeDocument/2006/relationships/slideLayout" Target="../slideLayouts/slideLayout21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tags" Target="../tags/tag23.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image" Target="../media/image163.png"/><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theme" Target="../theme/theme7.xml"/><Relationship Id="rId8" Type="http://schemas.openxmlformats.org/officeDocument/2006/relationships/slideLayout" Target="../slideLayouts/slideLayout220.xml"/><Relationship Id="rId51" Type="http://schemas.openxmlformats.org/officeDocument/2006/relationships/image" Target="../media/image162.emf"/><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1" Type="http://schemas.openxmlformats.org/officeDocument/2006/relationships/slideLayout" Target="../slideLayouts/slideLayout213.xml"/><Relationship Id="rId6"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7B95671-61D7-F777-7370-C497E90B4830}"/>
              </a:ext>
            </a:extLst>
          </p:cNvPr>
          <p:cNvSpPr txBox="1"/>
          <p:nvPr userDrawn="1">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3171291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814" r:id="rId47"/>
    <p:sldLayoutId id="2147483816" r:id="rId4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7B95671-61D7-F777-7370-C497E90B4830}"/>
              </a:ext>
            </a:extLst>
          </p:cNvPr>
          <p:cNvSpPr txBox="1"/>
          <p:nvPr>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80155034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 id="2147483802" r:id="rId40"/>
    <p:sldLayoutId id="2147483803" r:id="rId41"/>
    <p:sldLayoutId id="2147483804" r:id="rId42"/>
    <p:sldLayoutId id="2147483805" r:id="rId43"/>
    <p:sldLayoutId id="2147483806" r:id="rId44"/>
    <p:sldLayoutId id="2147483807" r:id="rId45"/>
    <p:sldLayoutId id="2147483808" r:id="rId46"/>
    <p:sldLayoutId id="2147483809" r:id="rId47"/>
    <p:sldLayoutId id="2147483810" r:id="rId4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C789A81-C1C7-F8AE-C10B-C763BB44C46A}"/>
              </a:ext>
            </a:extLst>
          </p:cNvPr>
          <p:cNvGraphicFramePr>
            <a:graphicFrameLocks noChangeAspect="1"/>
          </p:cNvGraphicFramePr>
          <p:nvPr userDrawn="1">
            <p:custDataLst>
              <p:tags r:id="rId47"/>
            </p:custDataLst>
            <p:extLst>
              <p:ext uri="{D42A27DB-BD31-4B8C-83A1-F6EECF244321}">
                <p14:modId xmlns:p14="http://schemas.microsoft.com/office/powerpoint/2010/main" val="38522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1" progId="TCLayout.ActiveDocument.1">
                  <p:embed/>
                </p:oleObj>
              </mc:Choice>
              <mc:Fallback>
                <p:oleObj name="think-cell Slide" r:id="rId48" imgW="592" imgH="591" progId="TCLayout.ActiveDocument.1">
                  <p:embed/>
                  <p:pic>
                    <p:nvPicPr>
                      <p:cNvPr id="19" name="think-cell data - do not delete" hidden="1">
                        <a:extLst>
                          <a:ext uri="{FF2B5EF4-FFF2-40B4-BE49-F238E27FC236}">
                            <a16:creationId xmlns:a16="http://schemas.microsoft.com/office/drawing/2014/main" id="{3C789A81-C1C7-F8AE-C10B-C763BB44C46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7B95671-61D7-F777-7370-C497E90B4830}"/>
              </a:ext>
            </a:extLst>
          </p:cNvPr>
          <p:cNvSpPr txBox="1"/>
          <p:nvPr>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365547933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DFE4B3-7D31-3B93-7A6C-DE2F45970286}"/>
              </a:ext>
            </a:extLst>
          </p:cNvPr>
          <p:cNvSpPr txBox="1"/>
          <p:nvPr userDrawn="1">
            <p:extLst>
              <p:ext uri="{1162E1C5-73C7-4A58-AE30-91384D911F3F}">
                <p184:classification xmlns:p184="http://schemas.microsoft.com/office/powerpoint/2018/4/main" val="ftr"/>
              </p:ext>
            </p:extLst>
          </p:nvPr>
        </p:nvSpPr>
        <p:spPr>
          <a:xfrm>
            <a:off x="0" y="6736080"/>
            <a:ext cx="531813"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
        <p:nvSpPr>
          <p:cNvPr id="7" name="Rectangle 6">
            <a:extLst>
              <a:ext uri="{FF2B5EF4-FFF2-40B4-BE49-F238E27FC236}">
                <a16:creationId xmlns:a16="http://schemas.microsoft.com/office/drawing/2014/main" id="{C46A0EBF-E333-69C4-5476-C68FDA080DEF}"/>
              </a:ext>
            </a:extLst>
          </p:cNvPr>
          <p:cNvSpPr/>
          <p:nvPr userDrawn="1"/>
        </p:nvSpPr>
        <p:spPr>
          <a:xfrm>
            <a:off x="0" y="0"/>
            <a:ext cx="12192000" cy="6858000"/>
          </a:xfrm>
          <a:prstGeom prst="rect">
            <a:avLst/>
          </a:prstGeom>
          <a:solidFill>
            <a:schemeClr val="tx1">
              <a:alpha val="5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err="1"/>
          </a:p>
        </p:txBody>
      </p:sp>
    </p:spTree>
    <p:extLst>
      <p:ext uri="{BB962C8B-B14F-4D97-AF65-F5344CB8AC3E}">
        <p14:creationId xmlns:p14="http://schemas.microsoft.com/office/powerpoint/2010/main" val="191541286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9"/>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0" imgW="324" imgH="324" progId="TCLayout.ActiveDocument.1">
                  <p:embed/>
                </p:oleObj>
              </mc:Choice>
              <mc:Fallback>
                <p:oleObj name="think-cell Slide" r:id="rId20" imgW="324" imgH="324" progId="TCLayout.ActiveDocument.1">
                  <p:embed/>
                  <p:pic>
                    <p:nvPicPr>
                      <p:cNvPr id="3" name="Objekt 2" hidden="1"/>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26" name="Freeform 25"/>
          <p:cNvSpPr/>
          <p:nvPr userDrawn="1"/>
        </p:nvSpPr>
        <p:spPr bwMode="auto">
          <a:xfrm rot="16200000">
            <a:off x="6082283" y="291084"/>
            <a:ext cx="27432" cy="12191998"/>
          </a:xfrm>
          <a:custGeom>
            <a:avLst/>
            <a:gdLst>
              <a:gd name="connsiteX0" fmla="*/ 0 w 45720"/>
              <a:gd name="connsiteY0" fmla="*/ 1471361 h 12191998"/>
              <a:gd name="connsiteX1" fmla="*/ 0 w 45720"/>
              <a:gd name="connsiteY1" fmla="*/ 0 h 12191998"/>
              <a:gd name="connsiteX2" fmla="*/ 45720 w 45720"/>
              <a:gd name="connsiteY2" fmla="*/ 0 h 12191998"/>
              <a:gd name="connsiteX3" fmla="*/ 45720 w 45720"/>
              <a:gd name="connsiteY3" fmla="*/ 1534289 h 12191998"/>
              <a:gd name="connsiteX4" fmla="*/ 0 w 45720"/>
              <a:gd name="connsiteY4" fmla="*/ 1731430 h 12191998"/>
              <a:gd name="connsiteX5" fmla="*/ 0 w 45720"/>
              <a:gd name="connsiteY5" fmla="*/ 1601001 h 12191998"/>
              <a:gd name="connsiteX6" fmla="*/ 45720 w 45720"/>
              <a:gd name="connsiteY6" fmla="*/ 1663929 h 12191998"/>
              <a:gd name="connsiteX7" fmla="*/ 45720 w 45720"/>
              <a:gd name="connsiteY7" fmla="*/ 1794358 h 12191998"/>
              <a:gd name="connsiteX8" fmla="*/ 0 w 45720"/>
              <a:gd name="connsiteY8" fmla="*/ 1991500 h 12191998"/>
              <a:gd name="connsiteX9" fmla="*/ 0 w 45720"/>
              <a:gd name="connsiteY9" fmla="*/ 1861069 h 12191998"/>
              <a:gd name="connsiteX10" fmla="*/ 45720 w 45720"/>
              <a:gd name="connsiteY10" fmla="*/ 1923998 h 12191998"/>
              <a:gd name="connsiteX11" fmla="*/ 45720 w 45720"/>
              <a:gd name="connsiteY11" fmla="*/ 2054428 h 12191998"/>
              <a:gd name="connsiteX12" fmla="*/ 0 w 45720"/>
              <a:gd name="connsiteY12" fmla="*/ 2251570 h 12191998"/>
              <a:gd name="connsiteX13" fmla="*/ 0 w 45720"/>
              <a:gd name="connsiteY13" fmla="*/ 2121139 h 12191998"/>
              <a:gd name="connsiteX14" fmla="*/ 45720 w 45720"/>
              <a:gd name="connsiteY14" fmla="*/ 2184068 h 12191998"/>
              <a:gd name="connsiteX15" fmla="*/ 45720 w 45720"/>
              <a:gd name="connsiteY15" fmla="*/ 2314498 h 12191998"/>
              <a:gd name="connsiteX16" fmla="*/ 0 w 45720"/>
              <a:gd name="connsiteY16" fmla="*/ 2511640 h 12191998"/>
              <a:gd name="connsiteX17" fmla="*/ 0 w 45720"/>
              <a:gd name="connsiteY17" fmla="*/ 2381209 h 12191998"/>
              <a:gd name="connsiteX18" fmla="*/ 45720 w 45720"/>
              <a:gd name="connsiteY18" fmla="*/ 2444138 h 12191998"/>
              <a:gd name="connsiteX19" fmla="*/ 45720 w 45720"/>
              <a:gd name="connsiteY19" fmla="*/ 2574568 h 12191998"/>
              <a:gd name="connsiteX20" fmla="*/ 0 w 45720"/>
              <a:gd name="connsiteY20" fmla="*/ 9754415 h 12191998"/>
              <a:gd name="connsiteX21" fmla="*/ 0 w 45720"/>
              <a:gd name="connsiteY21" fmla="*/ 2641279 h 12191998"/>
              <a:gd name="connsiteX22" fmla="*/ 45720 w 45720"/>
              <a:gd name="connsiteY22" fmla="*/ 2704208 h 12191998"/>
              <a:gd name="connsiteX23" fmla="*/ 45720 w 45720"/>
              <a:gd name="connsiteY23" fmla="*/ 9817343 h 12191998"/>
              <a:gd name="connsiteX24" fmla="*/ 0 w 45720"/>
              <a:gd name="connsiteY24" fmla="*/ 10014484 h 12191998"/>
              <a:gd name="connsiteX25" fmla="*/ 0 w 45720"/>
              <a:gd name="connsiteY25" fmla="*/ 9884055 h 12191998"/>
              <a:gd name="connsiteX26" fmla="*/ 45720 w 45720"/>
              <a:gd name="connsiteY26" fmla="*/ 9946983 h 12191998"/>
              <a:gd name="connsiteX27" fmla="*/ 45720 w 45720"/>
              <a:gd name="connsiteY27" fmla="*/ 10077413 h 12191998"/>
              <a:gd name="connsiteX28" fmla="*/ 0 w 45720"/>
              <a:gd name="connsiteY28" fmla="*/ 10274555 h 12191998"/>
              <a:gd name="connsiteX29" fmla="*/ 0 w 45720"/>
              <a:gd name="connsiteY29" fmla="*/ 10144124 h 12191998"/>
              <a:gd name="connsiteX30" fmla="*/ 45720 w 45720"/>
              <a:gd name="connsiteY30" fmla="*/ 10207052 h 12191998"/>
              <a:gd name="connsiteX31" fmla="*/ 45720 w 45720"/>
              <a:gd name="connsiteY31" fmla="*/ 10337483 h 12191998"/>
              <a:gd name="connsiteX32" fmla="*/ 0 w 45720"/>
              <a:gd name="connsiteY32" fmla="*/ 10534625 h 12191998"/>
              <a:gd name="connsiteX33" fmla="*/ 0 w 45720"/>
              <a:gd name="connsiteY33" fmla="*/ 10404194 h 12191998"/>
              <a:gd name="connsiteX34" fmla="*/ 45720 w 45720"/>
              <a:gd name="connsiteY34" fmla="*/ 10467122 h 12191998"/>
              <a:gd name="connsiteX35" fmla="*/ 45720 w 45720"/>
              <a:gd name="connsiteY35" fmla="*/ 10597553 h 12191998"/>
              <a:gd name="connsiteX36" fmla="*/ 0 w 45720"/>
              <a:gd name="connsiteY36" fmla="*/ 10794695 h 12191998"/>
              <a:gd name="connsiteX37" fmla="*/ 0 w 45720"/>
              <a:gd name="connsiteY37" fmla="*/ 10664264 h 12191998"/>
              <a:gd name="connsiteX38" fmla="*/ 45720 w 45720"/>
              <a:gd name="connsiteY38" fmla="*/ 10727192 h 12191998"/>
              <a:gd name="connsiteX39" fmla="*/ 45720 w 45720"/>
              <a:gd name="connsiteY39" fmla="*/ 10857623 h 12191998"/>
              <a:gd name="connsiteX40" fmla="*/ 0 w 45720"/>
              <a:gd name="connsiteY40" fmla="*/ 12191998 h 12191998"/>
              <a:gd name="connsiteX41" fmla="*/ 0 w 45720"/>
              <a:gd name="connsiteY41" fmla="*/ 10924334 h 12191998"/>
              <a:gd name="connsiteX42" fmla="*/ 45720 w 45720"/>
              <a:gd name="connsiteY42" fmla="*/ 10987262 h 12191998"/>
              <a:gd name="connsiteX43" fmla="*/ 45720 w 45720"/>
              <a:gd name="connsiteY43" fmla="*/ 12191998 h 1219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20" h="12191998">
                <a:moveTo>
                  <a:pt x="0" y="1471361"/>
                </a:moveTo>
                <a:lnTo>
                  <a:pt x="0" y="0"/>
                </a:lnTo>
                <a:lnTo>
                  <a:pt x="45720" y="0"/>
                </a:lnTo>
                <a:lnTo>
                  <a:pt x="45720" y="1534289"/>
                </a:lnTo>
                <a:close/>
                <a:moveTo>
                  <a:pt x="0" y="1731430"/>
                </a:moveTo>
                <a:lnTo>
                  <a:pt x="0" y="1601001"/>
                </a:lnTo>
                <a:lnTo>
                  <a:pt x="45720" y="1663929"/>
                </a:lnTo>
                <a:lnTo>
                  <a:pt x="45720" y="1794358"/>
                </a:lnTo>
                <a:close/>
                <a:moveTo>
                  <a:pt x="0" y="1991500"/>
                </a:moveTo>
                <a:lnTo>
                  <a:pt x="0" y="1861069"/>
                </a:lnTo>
                <a:lnTo>
                  <a:pt x="45720" y="1923998"/>
                </a:lnTo>
                <a:lnTo>
                  <a:pt x="45720" y="2054428"/>
                </a:lnTo>
                <a:close/>
                <a:moveTo>
                  <a:pt x="0" y="2251570"/>
                </a:moveTo>
                <a:lnTo>
                  <a:pt x="0" y="2121139"/>
                </a:lnTo>
                <a:lnTo>
                  <a:pt x="45720" y="2184068"/>
                </a:lnTo>
                <a:lnTo>
                  <a:pt x="45720" y="2314498"/>
                </a:lnTo>
                <a:close/>
                <a:moveTo>
                  <a:pt x="0" y="2511640"/>
                </a:moveTo>
                <a:lnTo>
                  <a:pt x="0" y="2381209"/>
                </a:lnTo>
                <a:lnTo>
                  <a:pt x="45720" y="2444138"/>
                </a:lnTo>
                <a:lnTo>
                  <a:pt x="45720" y="2574568"/>
                </a:lnTo>
                <a:close/>
                <a:moveTo>
                  <a:pt x="0" y="9754415"/>
                </a:moveTo>
                <a:lnTo>
                  <a:pt x="0" y="2641279"/>
                </a:lnTo>
                <a:lnTo>
                  <a:pt x="45720" y="2704208"/>
                </a:lnTo>
                <a:lnTo>
                  <a:pt x="45720" y="9817343"/>
                </a:lnTo>
                <a:close/>
                <a:moveTo>
                  <a:pt x="0" y="10014484"/>
                </a:moveTo>
                <a:lnTo>
                  <a:pt x="0" y="9884055"/>
                </a:lnTo>
                <a:lnTo>
                  <a:pt x="45720" y="9946983"/>
                </a:lnTo>
                <a:lnTo>
                  <a:pt x="45720" y="10077413"/>
                </a:lnTo>
                <a:close/>
                <a:moveTo>
                  <a:pt x="0" y="10274555"/>
                </a:moveTo>
                <a:lnTo>
                  <a:pt x="0" y="10144124"/>
                </a:lnTo>
                <a:lnTo>
                  <a:pt x="45720" y="10207052"/>
                </a:lnTo>
                <a:lnTo>
                  <a:pt x="45720" y="10337483"/>
                </a:lnTo>
                <a:close/>
                <a:moveTo>
                  <a:pt x="0" y="10534625"/>
                </a:moveTo>
                <a:lnTo>
                  <a:pt x="0" y="10404194"/>
                </a:lnTo>
                <a:lnTo>
                  <a:pt x="45720" y="10467122"/>
                </a:lnTo>
                <a:lnTo>
                  <a:pt x="45720" y="10597553"/>
                </a:lnTo>
                <a:close/>
                <a:moveTo>
                  <a:pt x="0" y="10794695"/>
                </a:moveTo>
                <a:lnTo>
                  <a:pt x="0" y="10664264"/>
                </a:lnTo>
                <a:lnTo>
                  <a:pt x="45720" y="10727192"/>
                </a:lnTo>
                <a:lnTo>
                  <a:pt x="45720" y="10857623"/>
                </a:lnTo>
                <a:close/>
                <a:moveTo>
                  <a:pt x="0" y="12191998"/>
                </a:moveTo>
                <a:lnTo>
                  <a:pt x="0" y="10924334"/>
                </a:lnTo>
                <a:lnTo>
                  <a:pt x="45720" y="10987262"/>
                </a:lnTo>
                <a:lnTo>
                  <a:pt x="45720" y="12191998"/>
                </a:lnTo>
                <a:close/>
              </a:path>
            </a:pathLst>
          </a:custGeom>
          <a:solidFill>
            <a:srgbClr val="004666"/>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
        <p:nvSpPr>
          <p:cNvPr id="39" name="Rectangle 38"/>
          <p:cNvSpPr/>
          <p:nvPr userDrawn="1"/>
        </p:nvSpPr>
        <p:spPr bwMode="auto">
          <a:xfrm>
            <a:off x="0" y="6400800"/>
            <a:ext cx="121920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4688" rtl="0" eaLnBrk="1" fontAlgn="base" latinLnBrk="0" hangingPunct="1">
              <a:lnSpc>
                <a:spcPct val="100000"/>
              </a:lnSpc>
              <a:spcBef>
                <a:spcPct val="50000"/>
              </a:spcBef>
              <a:spcAft>
                <a:spcPct val="0"/>
              </a:spcAft>
              <a:buClrTx/>
              <a:buSzTx/>
              <a:buFontTx/>
              <a:buNone/>
              <a:tabLst/>
            </a:pPr>
            <a:endParaRPr kumimoji="0" lang="en-US" sz="1600" b="0" i="0" u="none" strike="noStrike" cap="none" normalizeH="0" baseline="0" err="1">
              <a:ln>
                <a:noFill/>
              </a:ln>
              <a:solidFill>
                <a:schemeClr val="bg1"/>
              </a:solidFill>
              <a:effectLst/>
              <a:latin typeface="+mj-lt"/>
            </a:endParaRPr>
          </a:p>
        </p:txBody>
      </p:sp>
      <p:sp>
        <p:nvSpPr>
          <p:cNvPr id="35" name="Freeform 34">
            <a:extLst>
              <a:ext uri="{FF2B5EF4-FFF2-40B4-BE49-F238E27FC236}">
                <a16:creationId xmlns:a16="http://schemas.microsoft.com/office/drawing/2014/main" id="{5E674812-0E69-C74D-9C92-612EC5A8FB02}"/>
              </a:ext>
            </a:extLst>
          </p:cNvPr>
          <p:cNvSpPr/>
          <p:nvPr userDrawn="1"/>
        </p:nvSpPr>
        <p:spPr>
          <a:xfrm flipV="1">
            <a:off x="7010400" y="3721102"/>
            <a:ext cx="5206279" cy="2819398"/>
          </a:xfrm>
          <a:custGeom>
            <a:avLst/>
            <a:gdLst>
              <a:gd name="connsiteX0" fmla="*/ 5942810 w 8610600"/>
              <a:gd name="connsiteY0" fmla="*/ 1115425 h 2819398"/>
              <a:gd name="connsiteX1" fmla="*/ 4020694 w 8610600"/>
              <a:gd name="connsiteY1" fmla="*/ 713590 h 2819398"/>
              <a:gd name="connsiteX2" fmla="*/ 4022845 w 8610600"/>
              <a:gd name="connsiteY2" fmla="*/ 705374 h 2819398"/>
              <a:gd name="connsiteX3" fmla="*/ 4014238 w 8610600"/>
              <a:gd name="connsiteY3" fmla="*/ 691291 h 2819398"/>
              <a:gd name="connsiteX4" fmla="*/ 5923442 w 8610600"/>
              <a:gd name="connsiteY4" fmla="*/ 11737 h 2819398"/>
              <a:gd name="connsiteX5" fmla="*/ 5984558 w 8610600"/>
              <a:gd name="connsiteY5" fmla="*/ 1101928 h 2819398"/>
              <a:gd name="connsiteX6" fmla="*/ 5942810 w 8610600"/>
              <a:gd name="connsiteY6" fmla="*/ 1115425 h 2819398"/>
              <a:gd name="connsiteX7" fmla="*/ 6046104 w 8610600"/>
              <a:gd name="connsiteY7" fmla="*/ 1118946 h 2819398"/>
              <a:gd name="connsiteX8" fmla="*/ 6036204 w 8610600"/>
              <a:gd name="connsiteY8" fmla="*/ 1110730 h 2819398"/>
              <a:gd name="connsiteX9" fmla="*/ 8216554 w 8610600"/>
              <a:gd name="connsiteY9" fmla="*/ 18779 h 2819398"/>
              <a:gd name="connsiteX10" fmla="*/ 7947561 w 8610600"/>
              <a:gd name="connsiteY10" fmla="*/ 862353 h 2819398"/>
              <a:gd name="connsiteX11" fmla="*/ 7944979 w 8610600"/>
              <a:gd name="connsiteY11" fmla="*/ 862353 h 2819398"/>
              <a:gd name="connsiteX12" fmla="*/ 7888598 w 8610600"/>
              <a:gd name="connsiteY12" fmla="*/ 889347 h 2819398"/>
              <a:gd name="connsiteX13" fmla="*/ 7889890 w 8610600"/>
              <a:gd name="connsiteY13" fmla="*/ 893455 h 2819398"/>
              <a:gd name="connsiteX14" fmla="*/ 3100522 w 8610600"/>
              <a:gd name="connsiteY14" fmla="*/ 1853662 h 2819398"/>
              <a:gd name="connsiteX15" fmla="*/ 2117944 w 8610600"/>
              <a:gd name="connsiteY15" fmla="*/ 940842 h 2819398"/>
              <a:gd name="connsiteX16" fmla="*/ 2148502 w 8610600"/>
              <a:gd name="connsiteY16" fmla="*/ 921623 h 2819398"/>
              <a:gd name="connsiteX17" fmla="*/ 3913526 w 8610600"/>
              <a:gd name="connsiteY17" fmla="*/ 714177 h 2819398"/>
              <a:gd name="connsiteX18" fmla="*/ 3943224 w 8610600"/>
              <a:gd name="connsiteY18" fmla="*/ 729435 h 2819398"/>
              <a:gd name="connsiteX19" fmla="*/ 3133662 w 8610600"/>
              <a:gd name="connsiteY19" fmla="*/ 1851902 h 2819398"/>
              <a:gd name="connsiteX20" fmla="*/ 3123763 w 8610600"/>
              <a:gd name="connsiteY20" fmla="*/ 1851314 h 2819398"/>
              <a:gd name="connsiteX21" fmla="*/ 3100522 w 8610600"/>
              <a:gd name="connsiteY21" fmla="*/ 1853662 h 2819398"/>
              <a:gd name="connsiteX22" fmla="*/ 3178853 w 8610600"/>
              <a:gd name="connsiteY22" fmla="*/ 1873028 h 2819398"/>
              <a:gd name="connsiteX23" fmla="*/ 3144852 w 8610600"/>
              <a:gd name="connsiteY23" fmla="*/ 1853662 h 2819398"/>
              <a:gd name="connsiteX24" fmla="*/ 3953983 w 8610600"/>
              <a:gd name="connsiteY24" fmla="*/ 731782 h 2819398"/>
              <a:gd name="connsiteX25" fmla="*/ 3966465 w 8610600"/>
              <a:gd name="connsiteY25" fmla="*/ 732369 h 2819398"/>
              <a:gd name="connsiteX26" fmla="*/ 4015529 w 8610600"/>
              <a:gd name="connsiteY26" fmla="*/ 718872 h 2819398"/>
              <a:gd name="connsiteX27" fmla="*/ 5938076 w 8610600"/>
              <a:gd name="connsiteY27" fmla="*/ 1120707 h 2819398"/>
              <a:gd name="connsiteX28" fmla="*/ 5935494 w 8610600"/>
              <a:gd name="connsiteY28" fmla="*/ 1128922 h 2819398"/>
              <a:gd name="connsiteX29" fmla="*/ 5951418 w 8610600"/>
              <a:gd name="connsiteY29" fmla="*/ 1147701 h 2819398"/>
              <a:gd name="connsiteX30" fmla="*/ 4822508 w 8610600"/>
              <a:gd name="connsiteY30" fmla="*/ 1781041 h 2819398"/>
              <a:gd name="connsiteX31" fmla="*/ 4793241 w 8610600"/>
              <a:gd name="connsiteY31" fmla="*/ 1776933 h 2819398"/>
              <a:gd name="connsiteX32" fmla="*/ 4736430 w 8610600"/>
              <a:gd name="connsiteY32" fmla="*/ 1800993 h 2819398"/>
              <a:gd name="connsiteX33" fmla="*/ 8572916 w 8610600"/>
              <a:gd name="connsiteY33" fmla="*/ 2774551 h 2819398"/>
              <a:gd name="connsiteX34" fmla="*/ 4847040 w 8610600"/>
              <a:gd name="connsiteY34" fmla="*/ 1811997 h 2819398"/>
              <a:gd name="connsiteX35" fmla="*/ 4849622 w 8610600"/>
              <a:gd name="connsiteY35" fmla="*/ 1804368 h 2819398"/>
              <a:gd name="connsiteX36" fmla="*/ 4831116 w 8610600"/>
              <a:gd name="connsiteY36" fmla="*/ 1784562 h 2819398"/>
              <a:gd name="connsiteX37" fmla="*/ 5960026 w 8610600"/>
              <a:gd name="connsiteY37" fmla="*/ 1151809 h 2819398"/>
              <a:gd name="connsiteX38" fmla="*/ 5991874 w 8610600"/>
              <a:gd name="connsiteY38" fmla="*/ 1156503 h 2819398"/>
              <a:gd name="connsiteX39" fmla="*/ 6021571 w 8610600"/>
              <a:gd name="connsiteY39" fmla="*/ 1152396 h 2819398"/>
              <a:gd name="connsiteX40" fmla="*/ 8580233 w 8610600"/>
              <a:gd name="connsiteY40" fmla="*/ 2769416 h 2819398"/>
              <a:gd name="connsiteX41" fmla="*/ 8572916 w 8610600"/>
              <a:gd name="connsiteY41" fmla="*/ 2774551 h 2819398"/>
              <a:gd name="connsiteX42" fmla="*/ 8592969 w 8610600"/>
              <a:gd name="connsiteY42" fmla="*/ 2819398 h 2819398"/>
              <a:gd name="connsiteX43" fmla="*/ 8601322 w 8610600"/>
              <a:gd name="connsiteY43" fmla="*/ 2812695 h 2819398"/>
              <a:gd name="connsiteX44" fmla="*/ 8610600 w 8610600"/>
              <a:gd name="connsiteY44" fmla="*/ 2813486 h 2819398"/>
              <a:gd name="connsiteX45" fmla="*/ 8610600 w 8610600"/>
              <a:gd name="connsiteY45" fmla="*/ 2762291 h 2819398"/>
              <a:gd name="connsiteX46" fmla="*/ 8590132 w 8610600"/>
              <a:gd name="connsiteY46" fmla="*/ 2765308 h 2819398"/>
              <a:gd name="connsiteX47" fmla="*/ 6031470 w 8610600"/>
              <a:gd name="connsiteY47" fmla="*/ 1148874 h 2819398"/>
              <a:gd name="connsiteX48" fmla="*/ 6041368 w 8610600"/>
              <a:gd name="connsiteY48" fmla="*/ 1143006 h 2819398"/>
              <a:gd name="connsiteX49" fmla="*/ 8610600 w 8610600"/>
              <a:gd name="connsiteY49" fmla="*/ 1698732 h 2819398"/>
              <a:gd name="connsiteX50" fmla="*/ 8610600 w 8610600"/>
              <a:gd name="connsiteY50" fmla="*/ 1691764 h 2819398"/>
              <a:gd name="connsiteX51" fmla="*/ 6046104 w 8610600"/>
              <a:gd name="connsiteY51" fmla="*/ 1137138 h 2819398"/>
              <a:gd name="connsiteX52" fmla="*/ 6049976 w 8610600"/>
              <a:gd name="connsiteY52" fmla="*/ 1128922 h 2819398"/>
              <a:gd name="connsiteX53" fmla="*/ 6048686 w 8610600"/>
              <a:gd name="connsiteY53" fmla="*/ 1124814 h 2819398"/>
              <a:gd name="connsiteX54" fmla="*/ 7892472 w 8610600"/>
              <a:gd name="connsiteY54" fmla="*/ 899323 h 2819398"/>
              <a:gd name="connsiteX55" fmla="*/ 7944979 w 8610600"/>
              <a:gd name="connsiteY55" fmla="*/ 916928 h 2819398"/>
              <a:gd name="connsiteX56" fmla="*/ 7970802 w 8610600"/>
              <a:gd name="connsiteY56" fmla="*/ 913994 h 2819398"/>
              <a:gd name="connsiteX57" fmla="*/ 8610600 w 8610600"/>
              <a:gd name="connsiteY57" fmla="*/ 1379350 h 2819398"/>
              <a:gd name="connsiteX58" fmla="*/ 8610600 w 8610600"/>
              <a:gd name="connsiteY58" fmla="*/ 1368277 h 2819398"/>
              <a:gd name="connsiteX59" fmla="*/ 7981992 w 8610600"/>
              <a:gd name="connsiteY59" fmla="*/ 911060 h 2819398"/>
              <a:gd name="connsiteX60" fmla="*/ 8003082 w 8610600"/>
              <a:gd name="connsiteY60" fmla="*/ 889934 h 2819398"/>
              <a:gd name="connsiteX61" fmla="*/ 7960042 w 8610600"/>
              <a:gd name="connsiteY61" fmla="*/ 863526 h 2819398"/>
              <a:gd name="connsiteX62" fmla="*/ 8231188 w 8610600"/>
              <a:gd name="connsiteY62" fmla="*/ 10563 h 2819398"/>
              <a:gd name="connsiteX63" fmla="*/ 8225162 w 8610600"/>
              <a:gd name="connsiteY63" fmla="*/ 9977 h 2819398"/>
              <a:gd name="connsiteX64" fmla="*/ 8220428 w 8610600"/>
              <a:gd name="connsiteY64" fmla="*/ 8216 h 2819398"/>
              <a:gd name="connsiteX65" fmla="*/ 6027597 w 8610600"/>
              <a:gd name="connsiteY65" fmla="*/ 1107209 h 2819398"/>
              <a:gd name="connsiteX66" fmla="*/ 5998330 w 8610600"/>
              <a:gd name="connsiteY66" fmla="*/ 1101928 h 2819398"/>
              <a:gd name="connsiteX67" fmla="*/ 5935494 w 8610600"/>
              <a:gd name="connsiteY67" fmla="*/ 5869 h 2819398"/>
              <a:gd name="connsiteX68" fmla="*/ 5935494 w 8610600"/>
              <a:gd name="connsiteY68" fmla="*/ 0 h 2819398"/>
              <a:gd name="connsiteX69" fmla="*/ 4008212 w 8610600"/>
              <a:gd name="connsiteY69" fmla="*/ 686596 h 2819398"/>
              <a:gd name="connsiteX70" fmla="*/ 3966465 w 8610600"/>
              <a:gd name="connsiteY70" fmla="*/ 677793 h 2819398"/>
              <a:gd name="connsiteX71" fmla="*/ 3941932 w 8610600"/>
              <a:gd name="connsiteY71" fmla="*/ 680728 h 2819398"/>
              <a:gd name="connsiteX72" fmla="*/ 3070825 w 8610600"/>
              <a:gd name="connsiteY72" fmla="*/ 4695 h 2819398"/>
              <a:gd name="connsiteX73" fmla="*/ 3060065 w 8610600"/>
              <a:gd name="connsiteY73" fmla="*/ 7630 h 2819398"/>
              <a:gd name="connsiteX74" fmla="*/ 3932033 w 8610600"/>
              <a:gd name="connsiteY74" fmla="*/ 683662 h 2819398"/>
              <a:gd name="connsiteX75" fmla="*/ 3910083 w 8610600"/>
              <a:gd name="connsiteY75" fmla="*/ 705374 h 2819398"/>
              <a:gd name="connsiteX76" fmla="*/ 3911374 w 8610600"/>
              <a:gd name="connsiteY76" fmla="*/ 708896 h 2819398"/>
              <a:gd name="connsiteX77" fmla="*/ 2149793 w 8610600"/>
              <a:gd name="connsiteY77" fmla="*/ 916341 h 2819398"/>
              <a:gd name="connsiteX78" fmla="*/ 2094273 w 8610600"/>
              <a:gd name="connsiteY78" fmla="*/ 890521 h 2819398"/>
              <a:gd name="connsiteX79" fmla="*/ 1938472 w 8610600"/>
              <a:gd name="connsiteY79" fmla="*/ 5282 h 2819398"/>
              <a:gd name="connsiteX80" fmla="*/ 1925990 w 8610600"/>
              <a:gd name="connsiteY80" fmla="*/ 5869 h 2819398"/>
              <a:gd name="connsiteX81" fmla="*/ 2082222 w 8610600"/>
              <a:gd name="connsiteY81" fmla="*/ 891107 h 2819398"/>
              <a:gd name="connsiteX82" fmla="*/ 2035309 w 8610600"/>
              <a:gd name="connsiteY82" fmla="*/ 918102 h 2819398"/>
              <a:gd name="connsiteX83" fmla="*/ 2040475 w 8610600"/>
              <a:gd name="connsiteY83" fmla="*/ 928518 h 2819398"/>
              <a:gd name="connsiteX84" fmla="*/ 1050150 w 8610600"/>
              <a:gd name="connsiteY84" fmla="*/ 1020505 h 2819398"/>
              <a:gd name="connsiteX85" fmla="*/ 1019592 w 8610600"/>
              <a:gd name="connsiteY85" fmla="*/ 1003633 h 2819398"/>
              <a:gd name="connsiteX86" fmla="*/ 1686695 w 8610600"/>
              <a:gd name="connsiteY86" fmla="*/ 5869 h 2819398"/>
              <a:gd name="connsiteX87" fmla="*/ 1674213 w 8610600"/>
              <a:gd name="connsiteY87" fmla="*/ 4108 h 2819398"/>
              <a:gd name="connsiteX88" fmla="*/ 1007110 w 8610600"/>
              <a:gd name="connsiteY88" fmla="*/ 1001872 h 2819398"/>
              <a:gd name="connsiteX89" fmla="*/ 996351 w 8610600"/>
              <a:gd name="connsiteY89" fmla="*/ 1001286 h 2819398"/>
              <a:gd name="connsiteX90" fmla="*/ 977844 w 8610600"/>
              <a:gd name="connsiteY90" fmla="*/ 1003046 h 2819398"/>
              <a:gd name="connsiteX91" fmla="*/ 11190 w 8610600"/>
              <a:gd name="connsiteY91" fmla="*/ 2348 h 2819398"/>
              <a:gd name="connsiteX92" fmla="*/ 0 w 8610600"/>
              <a:gd name="connsiteY92" fmla="*/ 4695 h 2819398"/>
              <a:gd name="connsiteX93" fmla="*/ 966654 w 8610600"/>
              <a:gd name="connsiteY93" fmla="*/ 1005394 h 2819398"/>
              <a:gd name="connsiteX94" fmla="*/ 938679 w 8610600"/>
              <a:gd name="connsiteY94" fmla="*/ 1028720 h 2819398"/>
              <a:gd name="connsiteX95" fmla="*/ 995059 w 8610600"/>
              <a:gd name="connsiteY95" fmla="*/ 1055714 h 2819398"/>
              <a:gd name="connsiteX96" fmla="*/ 1051440 w 8610600"/>
              <a:gd name="connsiteY96" fmla="*/ 1028720 h 2819398"/>
              <a:gd name="connsiteX97" fmla="*/ 1051440 w 8610600"/>
              <a:gd name="connsiteY97" fmla="*/ 1026373 h 2819398"/>
              <a:gd name="connsiteX98" fmla="*/ 2045208 w 8610600"/>
              <a:gd name="connsiteY98" fmla="*/ 933213 h 2819398"/>
              <a:gd name="connsiteX99" fmla="*/ 2092121 w 8610600"/>
              <a:gd name="connsiteY99" fmla="*/ 944362 h 2819398"/>
              <a:gd name="connsiteX100" fmla="*/ 2105463 w 8610600"/>
              <a:gd name="connsiteY100" fmla="*/ 943189 h 2819398"/>
              <a:gd name="connsiteX101" fmla="*/ 3089332 w 8610600"/>
              <a:gd name="connsiteY101" fmla="*/ 1856596 h 2819398"/>
              <a:gd name="connsiteX102" fmla="*/ 3066091 w 8610600"/>
              <a:gd name="connsiteY102" fmla="*/ 1878309 h 2819398"/>
              <a:gd name="connsiteX103" fmla="*/ 3122472 w 8610600"/>
              <a:gd name="connsiteY103" fmla="*/ 1905157 h 2819398"/>
              <a:gd name="connsiteX104" fmla="*/ 3178853 w 8610600"/>
              <a:gd name="connsiteY104" fmla="*/ 1878309 h 2819398"/>
              <a:gd name="connsiteX105" fmla="*/ 4735569 w 8610600"/>
              <a:gd name="connsiteY105" fmla="*/ 1806128 h 2819398"/>
              <a:gd name="connsiteX106" fmla="*/ 4791950 w 8610600"/>
              <a:gd name="connsiteY106" fmla="*/ 1830776 h 2819398"/>
              <a:gd name="connsiteX107" fmla="*/ 4805293 w 8610600"/>
              <a:gd name="connsiteY107" fmla="*/ 1830188 h 2819398"/>
              <a:gd name="connsiteX108" fmla="*/ 4814386 w 8610600"/>
              <a:gd name="connsiteY108" fmla="*/ 1843402 h 2819398"/>
              <a:gd name="connsiteX109" fmla="*/ 4816898 w 8610600"/>
              <a:gd name="connsiteY109" fmla="*/ 1834722 h 2819398"/>
              <a:gd name="connsiteX110" fmla="*/ 4825112 w 8610600"/>
              <a:gd name="connsiteY110" fmla="*/ 1837227 h 2819398"/>
              <a:gd name="connsiteX111" fmla="*/ 4819064 w 8610600"/>
              <a:gd name="connsiteY111" fmla="*/ 1828428 h 2819398"/>
              <a:gd name="connsiteX112" fmla="*/ 4843597 w 8610600"/>
              <a:gd name="connsiteY112" fmla="*/ 1817278 h 2819398"/>
              <a:gd name="connsiteX113" fmla="*/ 8568182 w 8610600"/>
              <a:gd name="connsiteY113" fmla="*/ 2779246 h 2819398"/>
              <a:gd name="connsiteX114" fmla="*/ 8565600 w 8610600"/>
              <a:gd name="connsiteY114" fmla="*/ 2787461 h 2819398"/>
              <a:gd name="connsiteX115" fmla="*/ 8572916 w 8610600"/>
              <a:gd name="connsiteY115" fmla="*/ 2800372 h 2819398"/>
              <a:gd name="connsiteX116" fmla="*/ 8547110 w 8610600"/>
              <a:gd name="connsiteY116" fmla="*/ 2807228 h 2819398"/>
              <a:gd name="connsiteX117" fmla="*/ 8558983 w 8610600"/>
              <a:gd name="connsiteY117" fmla="*/ 2810378 h 2819398"/>
              <a:gd name="connsiteX118" fmla="*/ 8578941 w 8610600"/>
              <a:gd name="connsiteY118" fmla="*/ 2805066 h 2819398"/>
              <a:gd name="connsiteX119" fmla="*/ 8590132 w 8610600"/>
              <a:gd name="connsiteY119" fmla="*/ 2810347 h 2819398"/>
              <a:gd name="connsiteX120" fmla="*/ 8582352 w 8610600"/>
              <a:gd name="connsiteY120" fmla="*/ 2816580 h 281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8610600" h="2819398">
                <a:moveTo>
                  <a:pt x="5942810" y="1115425"/>
                </a:moveTo>
                <a:lnTo>
                  <a:pt x="4020694" y="713590"/>
                </a:lnTo>
                <a:cubicBezTo>
                  <a:pt x="4021554" y="711243"/>
                  <a:pt x="4022845" y="708309"/>
                  <a:pt x="4022845" y="705374"/>
                </a:cubicBezTo>
                <a:cubicBezTo>
                  <a:pt x="4022845" y="700093"/>
                  <a:pt x="4019402" y="695398"/>
                  <a:pt x="4014238" y="691291"/>
                </a:cubicBezTo>
                <a:lnTo>
                  <a:pt x="5923442" y="11737"/>
                </a:lnTo>
                <a:lnTo>
                  <a:pt x="5984558" y="1101928"/>
                </a:lnTo>
                <a:cubicBezTo>
                  <a:pt x="5966051" y="1103101"/>
                  <a:pt x="5951418" y="1108383"/>
                  <a:pt x="5942810" y="1115425"/>
                </a:cubicBezTo>
                <a:close/>
                <a:moveTo>
                  <a:pt x="6046104" y="1118946"/>
                </a:moveTo>
                <a:cubicBezTo>
                  <a:pt x="6043520" y="1116012"/>
                  <a:pt x="6040078" y="1113077"/>
                  <a:pt x="6036204" y="1110730"/>
                </a:cubicBezTo>
                <a:lnTo>
                  <a:pt x="8216554" y="18779"/>
                </a:lnTo>
                <a:lnTo>
                  <a:pt x="7947561" y="862353"/>
                </a:lnTo>
                <a:cubicBezTo>
                  <a:pt x="7947561" y="862353"/>
                  <a:pt x="7946270" y="862353"/>
                  <a:pt x="7944979" y="862353"/>
                </a:cubicBezTo>
                <a:cubicBezTo>
                  <a:pt x="7913130" y="862353"/>
                  <a:pt x="7888598" y="874676"/>
                  <a:pt x="7888598" y="889347"/>
                </a:cubicBezTo>
                <a:cubicBezTo>
                  <a:pt x="7888598" y="890521"/>
                  <a:pt x="7888598" y="891694"/>
                  <a:pt x="7889890" y="893455"/>
                </a:cubicBezTo>
                <a:close/>
                <a:moveTo>
                  <a:pt x="3100522" y="1853662"/>
                </a:moveTo>
                <a:lnTo>
                  <a:pt x="2117944" y="940842"/>
                </a:lnTo>
                <a:cubicBezTo>
                  <a:pt x="2133869" y="937321"/>
                  <a:pt x="2144628" y="930279"/>
                  <a:pt x="2148502" y="921623"/>
                </a:cubicBezTo>
                <a:lnTo>
                  <a:pt x="3913526" y="714177"/>
                </a:lnTo>
                <a:cubicBezTo>
                  <a:pt x="3918691" y="721219"/>
                  <a:pt x="3929452" y="726500"/>
                  <a:pt x="3943224" y="729435"/>
                </a:cubicBezTo>
                <a:lnTo>
                  <a:pt x="3133662" y="1851902"/>
                </a:lnTo>
                <a:cubicBezTo>
                  <a:pt x="3129788" y="1851902"/>
                  <a:pt x="3127636" y="1851314"/>
                  <a:pt x="3123763" y="1851314"/>
                </a:cubicBezTo>
                <a:cubicBezTo>
                  <a:pt x="3115155" y="1851314"/>
                  <a:pt x="3107838" y="1851902"/>
                  <a:pt x="3100522" y="1853662"/>
                </a:cubicBezTo>
                <a:close/>
                <a:moveTo>
                  <a:pt x="3178853" y="1873028"/>
                </a:moveTo>
                <a:cubicBezTo>
                  <a:pt x="3175410" y="1864225"/>
                  <a:pt x="3162067" y="1856596"/>
                  <a:pt x="3144852" y="1853662"/>
                </a:cubicBezTo>
                <a:lnTo>
                  <a:pt x="3953983" y="731782"/>
                </a:lnTo>
                <a:cubicBezTo>
                  <a:pt x="3957857" y="732369"/>
                  <a:pt x="3962591" y="732369"/>
                  <a:pt x="3966465" y="732369"/>
                </a:cubicBezTo>
                <a:cubicBezTo>
                  <a:pt x="3987124" y="732369"/>
                  <a:pt x="4005630" y="727087"/>
                  <a:pt x="4015529" y="718872"/>
                </a:cubicBezTo>
                <a:lnTo>
                  <a:pt x="5938076" y="1120707"/>
                </a:lnTo>
                <a:cubicBezTo>
                  <a:pt x="5936784" y="1123054"/>
                  <a:pt x="5935494" y="1125988"/>
                  <a:pt x="5935494" y="1128922"/>
                </a:cubicBezTo>
                <a:cubicBezTo>
                  <a:pt x="5935494" y="1135964"/>
                  <a:pt x="5941518" y="1143006"/>
                  <a:pt x="5951418" y="1147701"/>
                </a:cubicBezTo>
                <a:lnTo>
                  <a:pt x="4822508" y="1781041"/>
                </a:lnTo>
                <a:cubicBezTo>
                  <a:pt x="4812608" y="1778694"/>
                  <a:pt x="4804001" y="1776933"/>
                  <a:pt x="4793241" y="1776933"/>
                </a:cubicBezTo>
                <a:cubicBezTo>
                  <a:pt x="4763545" y="1776933"/>
                  <a:pt x="4740304" y="1787496"/>
                  <a:pt x="4736430" y="1800993"/>
                </a:cubicBezTo>
                <a:close/>
                <a:moveTo>
                  <a:pt x="8572916" y="2774551"/>
                </a:moveTo>
                <a:lnTo>
                  <a:pt x="4847040" y="1811997"/>
                </a:lnTo>
                <a:cubicBezTo>
                  <a:pt x="4848331" y="1809650"/>
                  <a:pt x="4849622" y="1806715"/>
                  <a:pt x="4849622" y="1804368"/>
                </a:cubicBezTo>
                <a:cubicBezTo>
                  <a:pt x="4849622" y="1796299"/>
                  <a:pt x="4842306" y="1789257"/>
                  <a:pt x="4831116" y="1784562"/>
                </a:cubicBezTo>
                <a:lnTo>
                  <a:pt x="5960026" y="1151809"/>
                </a:lnTo>
                <a:cubicBezTo>
                  <a:pt x="5968633" y="1154743"/>
                  <a:pt x="5979824" y="1156503"/>
                  <a:pt x="5991874" y="1156503"/>
                </a:cubicBezTo>
                <a:cubicBezTo>
                  <a:pt x="6003064" y="1156503"/>
                  <a:pt x="6012964" y="1154743"/>
                  <a:pt x="6021571" y="1152396"/>
                </a:cubicBezTo>
                <a:lnTo>
                  <a:pt x="8580233" y="2769416"/>
                </a:lnTo>
                <a:cubicBezTo>
                  <a:pt x="8576359" y="2771176"/>
                  <a:pt x="8574207" y="2772790"/>
                  <a:pt x="8572916" y="2774551"/>
                </a:cubicBezTo>
                <a:close/>
                <a:moveTo>
                  <a:pt x="8592969" y="2819398"/>
                </a:moveTo>
                <a:lnTo>
                  <a:pt x="8601322" y="2812695"/>
                </a:lnTo>
                <a:lnTo>
                  <a:pt x="8610600" y="2813486"/>
                </a:lnTo>
                <a:lnTo>
                  <a:pt x="8610600" y="2762291"/>
                </a:lnTo>
                <a:lnTo>
                  <a:pt x="8590132" y="2765308"/>
                </a:lnTo>
                <a:lnTo>
                  <a:pt x="6031470" y="1148874"/>
                </a:lnTo>
                <a:cubicBezTo>
                  <a:pt x="6034914" y="1147114"/>
                  <a:pt x="6038786" y="1145353"/>
                  <a:pt x="6041368" y="1143006"/>
                </a:cubicBezTo>
                <a:lnTo>
                  <a:pt x="8610600" y="1698732"/>
                </a:lnTo>
                <a:lnTo>
                  <a:pt x="8610600" y="1691764"/>
                </a:lnTo>
                <a:lnTo>
                  <a:pt x="6046104" y="1137138"/>
                </a:lnTo>
                <a:cubicBezTo>
                  <a:pt x="6048686" y="1134203"/>
                  <a:pt x="6049976" y="1131856"/>
                  <a:pt x="6049976" y="1128922"/>
                </a:cubicBezTo>
                <a:cubicBezTo>
                  <a:pt x="6049976" y="1127748"/>
                  <a:pt x="6049976" y="1126575"/>
                  <a:pt x="6048686" y="1124814"/>
                </a:cubicBezTo>
                <a:lnTo>
                  <a:pt x="7892472" y="899323"/>
                </a:lnTo>
                <a:cubicBezTo>
                  <a:pt x="7901080" y="909886"/>
                  <a:pt x="7920446" y="916928"/>
                  <a:pt x="7944979" y="916928"/>
                </a:cubicBezTo>
                <a:cubicBezTo>
                  <a:pt x="7954878" y="916928"/>
                  <a:pt x="7963486" y="915755"/>
                  <a:pt x="7970802" y="913994"/>
                </a:cubicBezTo>
                <a:lnTo>
                  <a:pt x="8610600" y="1379350"/>
                </a:lnTo>
                <a:lnTo>
                  <a:pt x="8610600" y="1368277"/>
                </a:lnTo>
                <a:lnTo>
                  <a:pt x="7981992" y="911060"/>
                </a:lnTo>
                <a:cubicBezTo>
                  <a:pt x="7994474" y="905778"/>
                  <a:pt x="8003082" y="898737"/>
                  <a:pt x="8003082" y="889934"/>
                </a:cubicBezTo>
                <a:cubicBezTo>
                  <a:pt x="8003082" y="877024"/>
                  <a:pt x="7984575" y="867048"/>
                  <a:pt x="7960042" y="863526"/>
                </a:cubicBezTo>
                <a:lnTo>
                  <a:pt x="8231188" y="10563"/>
                </a:lnTo>
                <a:lnTo>
                  <a:pt x="8225162" y="9977"/>
                </a:lnTo>
                <a:lnTo>
                  <a:pt x="8220428" y="8216"/>
                </a:lnTo>
                <a:lnTo>
                  <a:pt x="6027597" y="1107209"/>
                </a:lnTo>
                <a:cubicBezTo>
                  <a:pt x="6018989" y="1104275"/>
                  <a:pt x="6009090" y="1101928"/>
                  <a:pt x="5998330" y="1101928"/>
                </a:cubicBezTo>
                <a:lnTo>
                  <a:pt x="5935494" y="5869"/>
                </a:lnTo>
                <a:lnTo>
                  <a:pt x="5935494" y="0"/>
                </a:lnTo>
                <a:lnTo>
                  <a:pt x="4008212" y="686596"/>
                </a:lnTo>
                <a:cubicBezTo>
                  <a:pt x="3998313" y="681315"/>
                  <a:pt x="3983680" y="677793"/>
                  <a:pt x="3966465" y="677793"/>
                </a:cubicBezTo>
                <a:cubicBezTo>
                  <a:pt x="3957857" y="677793"/>
                  <a:pt x="3949250" y="678967"/>
                  <a:pt x="3941932" y="680728"/>
                </a:cubicBezTo>
                <a:lnTo>
                  <a:pt x="3070825" y="4695"/>
                </a:lnTo>
                <a:lnTo>
                  <a:pt x="3060065" y="7630"/>
                </a:lnTo>
                <a:lnTo>
                  <a:pt x="3932033" y="683662"/>
                </a:lnTo>
                <a:cubicBezTo>
                  <a:pt x="3918691" y="688356"/>
                  <a:pt x="3910083" y="696572"/>
                  <a:pt x="3910083" y="705374"/>
                </a:cubicBezTo>
                <a:cubicBezTo>
                  <a:pt x="3910083" y="706549"/>
                  <a:pt x="3910083" y="707722"/>
                  <a:pt x="3911374" y="708896"/>
                </a:cubicBezTo>
                <a:lnTo>
                  <a:pt x="2149793" y="916341"/>
                </a:lnTo>
                <a:cubicBezTo>
                  <a:pt x="2148502" y="902257"/>
                  <a:pt x="2123969" y="890521"/>
                  <a:pt x="2094273" y="890521"/>
                </a:cubicBezTo>
                <a:lnTo>
                  <a:pt x="1938472" y="5282"/>
                </a:lnTo>
                <a:lnTo>
                  <a:pt x="1925990" y="5869"/>
                </a:lnTo>
                <a:lnTo>
                  <a:pt x="2082222" y="891107"/>
                </a:lnTo>
                <a:cubicBezTo>
                  <a:pt x="2056398" y="893455"/>
                  <a:pt x="2035309" y="904605"/>
                  <a:pt x="2035309" y="918102"/>
                </a:cubicBezTo>
                <a:cubicBezTo>
                  <a:pt x="2035309" y="921623"/>
                  <a:pt x="2036601" y="924997"/>
                  <a:pt x="2040475" y="928518"/>
                </a:cubicBezTo>
                <a:lnTo>
                  <a:pt x="1050150" y="1020505"/>
                </a:lnTo>
                <a:cubicBezTo>
                  <a:pt x="1045415" y="1012875"/>
                  <a:pt x="1034225" y="1007154"/>
                  <a:pt x="1019592" y="1003633"/>
                </a:cubicBezTo>
                <a:lnTo>
                  <a:pt x="1686695" y="5869"/>
                </a:lnTo>
                <a:lnTo>
                  <a:pt x="1674213" y="4108"/>
                </a:lnTo>
                <a:lnTo>
                  <a:pt x="1007110" y="1001872"/>
                </a:lnTo>
                <a:cubicBezTo>
                  <a:pt x="1003667" y="1001286"/>
                  <a:pt x="999794" y="1001286"/>
                  <a:pt x="996351" y="1001286"/>
                </a:cubicBezTo>
                <a:cubicBezTo>
                  <a:pt x="989895" y="1001286"/>
                  <a:pt x="983869" y="1001872"/>
                  <a:pt x="977844" y="1003046"/>
                </a:cubicBezTo>
                <a:lnTo>
                  <a:pt x="11190" y="2348"/>
                </a:lnTo>
                <a:lnTo>
                  <a:pt x="0" y="4695"/>
                </a:lnTo>
                <a:lnTo>
                  <a:pt x="966654" y="1005394"/>
                </a:lnTo>
                <a:cubicBezTo>
                  <a:pt x="949438" y="1010088"/>
                  <a:pt x="938679" y="1018744"/>
                  <a:pt x="938679" y="1028720"/>
                </a:cubicBezTo>
                <a:cubicBezTo>
                  <a:pt x="938679" y="1043978"/>
                  <a:pt x="964071" y="1055714"/>
                  <a:pt x="995059" y="1055714"/>
                </a:cubicBezTo>
                <a:cubicBezTo>
                  <a:pt x="1025617" y="1055714"/>
                  <a:pt x="1051440" y="1043391"/>
                  <a:pt x="1051440" y="1028720"/>
                </a:cubicBezTo>
                <a:cubicBezTo>
                  <a:pt x="1051440" y="1028133"/>
                  <a:pt x="1051440" y="1026960"/>
                  <a:pt x="1051440" y="1026373"/>
                </a:cubicBezTo>
                <a:lnTo>
                  <a:pt x="2045208" y="933213"/>
                </a:lnTo>
                <a:cubicBezTo>
                  <a:pt x="2055107" y="940255"/>
                  <a:pt x="2072323" y="944362"/>
                  <a:pt x="2092121" y="944362"/>
                </a:cubicBezTo>
                <a:cubicBezTo>
                  <a:pt x="2096855" y="944362"/>
                  <a:pt x="2101589" y="943776"/>
                  <a:pt x="2105463" y="943189"/>
                </a:cubicBezTo>
                <a:lnTo>
                  <a:pt x="3089332" y="1856596"/>
                </a:lnTo>
                <a:cubicBezTo>
                  <a:pt x="3074699" y="1861290"/>
                  <a:pt x="3066091" y="1869506"/>
                  <a:pt x="3066091" y="1878309"/>
                </a:cubicBezTo>
                <a:cubicBezTo>
                  <a:pt x="3066091" y="1893419"/>
                  <a:pt x="3091914" y="1905157"/>
                  <a:pt x="3122472" y="1905157"/>
                </a:cubicBezTo>
                <a:cubicBezTo>
                  <a:pt x="3154321" y="1905157"/>
                  <a:pt x="3178853" y="1892833"/>
                  <a:pt x="3178853" y="1878309"/>
                </a:cubicBezTo>
                <a:lnTo>
                  <a:pt x="4735569" y="1806128"/>
                </a:lnTo>
                <a:cubicBezTo>
                  <a:pt x="4737721" y="1819626"/>
                  <a:pt x="4762254" y="1830776"/>
                  <a:pt x="4791950" y="1830776"/>
                </a:cubicBezTo>
                <a:cubicBezTo>
                  <a:pt x="4796685" y="1830776"/>
                  <a:pt x="4801849" y="1830188"/>
                  <a:pt x="4805293" y="1830188"/>
                </a:cubicBezTo>
                <a:lnTo>
                  <a:pt x="4814386" y="1843402"/>
                </a:lnTo>
                <a:lnTo>
                  <a:pt x="4816898" y="1834722"/>
                </a:lnTo>
                <a:lnTo>
                  <a:pt x="4825112" y="1837227"/>
                </a:lnTo>
                <a:lnTo>
                  <a:pt x="4819064" y="1828428"/>
                </a:lnTo>
                <a:cubicBezTo>
                  <a:pt x="4828964" y="1826081"/>
                  <a:pt x="4837572" y="1821973"/>
                  <a:pt x="4843597" y="1817278"/>
                </a:cubicBezTo>
                <a:lnTo>
                  <a:pt x="8568182" y="2779246"/>
                </a:lnTo>
                <a:cubicBezTo>
                  <a:pt x="8566891" y="2781593"/>
                  <a:pt x="8565600" y="2784527"/>
                  <a:pt x="8565600" y="2787461"/>
                </a:cubicBezTo>
                <a:cubicBezTo>
                  <a:pt x="8565600" y="2792156"/>
                  <a:pt x="8568182" y="2796264"/>
                  <a:pt x="8572916" y="2800372"/>
                </a:cubicBezTo>
                <a:lnTo>
                  <a:pt x="8547110" y="2807228"/>
                </a:lnTo>
                <a:lnTo>
                  <a:pt x="8558983" y="2810378"/>
                </a:lnTo>
                <a:lnTo>
                  <a:pt x="8578941" y="2805066"/>
                </a:lnTo>
                <a:cubicBezTo>
                  <a:pt x="8582815" y="2806827"/>
                  <a:pt x="8586258" y="2808587"/>
                  <a:pt x="8590132" y="2810347"/>
                </a:cubicBezTo>
                <a:lnTo>
                  <a:pt x="8582352" y="2816580"/>
                </a:lnTo>
                <a:close/>
              </a:path>
            </a:pathLst>
          </a:custGeom>
          <a:solidFill>
            <a:srgbClr val="C6DFE7">
              <a:alpha val="0"/>
            </a:srgbClr>
          </a:solidFill>
          <a:ln w="9525">
            <a:solidFill>
              <a:srgbClr val="C6DFE7">
                <a:alpha val="32000"/>
              </a:srgbClr>
            </a:solidFill>
            <a:miter lim="400000"/>
          </a:ln>
        </p:spPr>
        <p:txBody>
          <a:bodyPr wrap="square" lIns="38100" tIns="38100" rIns="38100" bIns="38100" anchor="ctr">
            <a:noAutofit/>
          </a:bodyPr>
          <a:lstStyle/>
          <a:p>
            <a:pPr>
              <a:defRPr sz="3000">
                <a:solidFill>
                  <a:srgbClr val="FFFFFF"/>
                </a:solidFill>
              </a:defRPr>
            </a:pPr>
            <a:endParaRPr/>
          </a:p>
        </p:txBody>
      </p:sp>
      <p:sp>
        <p:nvSpPr>
          <p:cNvPr id="6" name="Footer Placeholder 5"/>
          <p:cNvSpPr>
            <a:spLocks noGrp="1"/>
          </p:cNvSpPr>
          <p:nvPr>
            <p:ph type="ftr" sz="quarter" idx="3"/>
          </p:nvPr>
        </p:nvSpPr>
        <p:spPr>
          <a:xfrm>
            <a:off x="1938256" y="6383179"/>
            <a:ext cx="3700544" cy="246221"/>
          </a:xfrm>
          <a:prstGeom prst="rect">
            <a:avLst/>
          </a:prstGeom>
          <a:noFill/>
        </p:spPr>
        <p:txBody>
          <a:bodyPr wrap="square" rtlCol="0" anchor="ctr">
            <a:spAutoFit/>
          </a:bodyPr>
          <a:lstStyle>
            <a:lvl1pPr algn="l">
              <a:defRPr lang="en-US" sz="1000" smtClean="0">
                <a:solidFill>
                  <a:schemeClr val="bg1">
                    <a:lumMod val="50000"/>
                  </a:schemeClr>
                </a:solidFill>
                <a:latin typeface="VWAG TheSans" panose="020B0502050302020203" pitchFamily="34" charset="0"/>
                <a:sym typeface="VWAG TheSans" panose="020B0502050302020203" pitchFamily="34" charset="0"/>
              </a:defRPr>
            </a:lvl1pPr>
          </a:lstStyle>
          <a:p>
            <a:r>
              <a:rPr lang="en-US"/>
              <a:t>&lt; Insert Subject &gt;</a:t>
            </a:r>
          </a:p>
        </p:txBody>
      </p:sp>
      <p:sp>
        <p:nvSpPr>
          <p:cNvPr id="18" name="TextBox 17"/>
          <p:cNvSpPr txBox="1"/>
          <p:nvPr userDrawn="1"/>
        </p:nvSpPr>
        <p:spPr>
          <a:xfrm>
            <a:off x="-267072" y="6398567"/>
            <a:ext cx="648072" cy="215444"/>
          </a:xfrm>
          <a:prstGeom prst="rect">
            <a:avLst/>
          </a:prstGeom>
          <a:noFill/>
        </p:spPr>
        <p:txBody>
          <a:bodyPr wrap="square" rtlCol="0">
            <a:spAutoFit/>
          </a:bodyPr>
          <a:lstStyle/>
          <a:p>
            <a:pPr algn="r"/>
            <a:fld id="{ABDD39A5-73E1-4C7B-853C-8CD8F7811FB5}" type="slidenum">
              <a:rPr lang="en-US" sz="800" b="1" i="0" smtClean="0">
                <a:solidFill>
                  <a:sysClr val="windowText" lastClr="000000"/>
                </a:solidFill>
                <a:latin typeface="VWAG TheSans" panose="020B0502050302020203" pitchFamily="34" charset="0"/>
                <a:sym typeface="VWAG TheSans" panose="020B0502050302020203" pitchFamily="34" charset="0"/>
              </a:rPr>
              <a:pPr algn="r"/>
              <a:t>‹#›</a:t>
            </a:fld>
            <a:endParaRPr lang="en-US" sz="800" b="1" i="0">
              <a:solidFill>
                <a:sysClr val="windowText" lastClr="000000"/>
              </a:solidFill>
              <a:latin typeface="VWAG TheSans" panose="020B0502050302020203" pitchFamily="34" charset="0"/>
              <a:sym typeface="VWAG TheSans" panose="020B0502050302020203" pitchFamily="34" charset="0"/>
            </a:endParaRPr>
          </a:p>
        </p:txBody>
      </p:sp>
      <p:sp>
        <p:nvSpPr>
          <p:cNvPr id="10" name="Text Placeholder 9"/>
          <p:cNvSpPr>
            <a:spLocks noGrp="1"/>
          </p:cNvSpPr>
          <p:nvPr>
            <p:ph type="body" idx="1"/>
          </p:nvPr>
        </p:nvSpPr>
        <p:spPr>
          <a:xfrm>
            <a:off x="378652" y="1214436"/>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MSIPCMContentMarking" descr="{&quot;HashCode&quot;:1622173095,&quot;Placement&quot;:&quot;Footer&quot;,&quot;Top&quot;:522.862549,&quot;Left&quot;:0.0,&quot;SlideWidth&quot;:960,&quot;SlideHeight&quot;:540}"/>
          <p:cNvSpPr txBox="1"/>
          <p:nvPr userDrawn="1"/>
        </p:nvSpPr>
        <p:spPr>
          <a:xfrm>
            <a:off x="0" y="6640354"/>
            <a:ext cx="744382" cy="217646"/>
          </a:xfrm>
          <a:prstGeom prst="rect">
            <a:avLst/>
          </a:prstGeom>
          <a:noFill/>
          <a:ln>
            <a:noFill/>
          </a:ln>
        </p:spPr>
        <p:txBody>
          <a:bodyPr vert="horz" wrap="square" lIns="0" tIns="0" rIns="0" bIns="0" rtlCol="0" anchor="ctr" anchorCtr="1">
            <a:noAutofit/>
          </a:bodyPr>
          <a:lstStyle/>
          <a:p>
            <a:pPr algn="l">
              <a:spcBef>
                <a:spcPts val="0"/>
              </a:spcBef>
              <a:spcAft>
                <a:spcPct val="0"/>
              </a:spcAft>
            </a:pPr>
            <a:r>
              <a:rPr lang="en-US" sz="800" b="1">
                <a:solidFill>
                  <a:srgbClr val="000000"/>
                </a:solidFill>
                <a:latin typeface="+mj-lt"/>
              </a:rPr>
              <a:t>INTERNAL</a:t>
            </a:r>
          </a:p>
        </p:txBody>
      </p:sp>
      <p:sp>
        <p:nvSpPr>
          <p:cNvPr id="36" name="Freeform 35"/>
          <p:cNvSpPr>
            <a:spLocks noChangeAspect="1"/>
          </p:cNvSpPr>
          <p:nvPr userDrawn="1"/>
        </p:nvSpPr>
        <p:spPr>
          <a:xfrm rot="2700000" flipH="1">
            <a:off x="8754829" y="540049"/>
            <a:ext cx="3108960" cy="2773346"/>
          </a:xfrm>
          <a:custGeom>
            <a:avLst/>
            <a:gdLst>
              <a:gd name="connsiteX0" fmla="*/ 2827003 w 6223979"/>
              <a:gd name="connsiteY0" fmla="*/ 3779233 h 5552097"/>
              <a:gd name="connsiteX1" fmla="*/ 3070847 w 6223979"/>
              <a:gd name="connsiteY1" fmla="*/ 3678229 h 5552097"/>
              <a:gd name="connsiteX2" fmla="*/ 4255019 w 6223979"/>
              <a:gd name="connsiteY2" fmla="*/ 3678229 h 5552097"/>
              <a:gd name="connsiteX3" fmla="*/ 4599867 w 6223979"/>
              <a:gd name="connsiteY3" fmla="*/ 4023077 h 5552097"/>
              <a:gd name="connsiteX4" fmla="*/ 4599867 w 6223979"/>
              <a:gd name="connsiteY4" fmla="*/ 5207249 h 5552097"/>
              <a:gd name="connsiteX5" fmla="*/ 4255019 w 6223979"/>
              <a:gd name="connsiteY5" fmla="*/ 5552097 h 5552097"/>
              <a:gd name="connsiteX6" fmla="*/ 3070847 w 6223979"/>
              <a:gd name="connsiteY6" fmla="*/ 5552097 h 5552097"/>
              <a:gd name="connsiteX7" fmla="*/ 2725999 w 6223979"/>
              <a:gd name="connsiteY7" fmla="*/ 5207249 h 5552097"/>
              <a:gd name="connsiteX8" fmla="*/ 2725999 w 6223979"/>
              <a:gd name="connsiteY8" fmla="*/ 4023077 h 5552097"/>
              <a:gd name="connsiteX9" fmla="*/ 2827003 w 6223979"/>
              <a:gd name="connsiteY9" fmla="*/ 3779233 h 5552097"/>
              <a:gd name="connsiteX10" fmla="*/ 846207 w 6223979"/>
              <a:gd name="connsiteY10" fmla="*/ 3212041 h 5552097"/>
              <a:gd name="connsiteX11" fmla="*/ 1090051 w 6223979"/>
              <a:gd name="connsiteY11" fmla="*/ 3111037 h 5552097"/>
              <a:gd name="connsiteX12" fmla="*/ 2274222 w 6223979"/>
              <a:gd name="connsiteY12" fmla="*/ 3111037 h 5552097"/>
              <a:gd name="connsiteX13" fmla="*/ 2619070 w 6223979"/>
              <a:gd name="connsiteY13" fmla="*/ 3455885 h 5552097"/>
              <a:gd name="connsiteX14" fmla="*/ 2619071 w 6223979"/>
              <a:gd name="connsiteY14" fmla="*/ 4640057 h 5552097"/>
              <a:gd name="connsiteX15" fmla="*/ 2274223 w 6223979"/>
              <a:gd name="connsiteY15" fmla="*/ 4984905 h 5552097"/>
              <a:gd name="connsiteX16" fmla="*/ 1090051 w 6223979"/>
              <a:gd name="connsiteY16" fmla="*/ 4984905 h 5552097"/>
              <a:gd name="connsiteX17" fmla="*/ 745203 w 6223979"/>
              <a:gd name="connsiteY17" fmla="*/ 4640057 h 5552097"/>
              <a:gd name="connsiteX18" fmla="*/ 745203 w 6223979"/>
              <a:gd name="connsiteY18" fmla="*/ 3455885 h 5552097"/>
              <a:gd name="connsiteX19" fmla="*/ 846207 w 6223979"/>
              <a:gd name="connsiteY19" fmla="*/ 3212041 h 5552097"/>
              <a:gd name="connsiteX20" fmla="*/ 2849097 w 6223979"/>
              <a:gd name="connsiteY20" fmla="*/ 192274 h 5552097"/>
              <a:gd name="connsiteX21" fmla="*/ 3313287 w 6223979"/>
              <a:gd name="connsiteY21" fmla="*/ 0 h 5552097"/>
              <a:gd name="connsiteX22" fmla="*/ 3939004 w 6223979"/>
              <a:gd name="connsiteY22" fmla="*/ 0 h 5552097"/>
              <a:gd name="connsiteX23" fmla="*/ 6223979 w 6223979"/>
              <a:gd name="connsiteY23" fmla="*/ 2284975 h 5552097"/>
              <a:gd name="connsiteX24" fmla="*/ 6223979 w 6223979"/>
              <a:gd name="connsiteY24" fmla="*/ 2910692 h 5552097"/>
              <a:gd name="connsiteX25" fmla="*/ 5567515 w 6223979"/>
              <a:gd name="connsiteY25" fmla="*/ 3567156 h 5552097"/>
              <a:gd name="connsiteX26" fmla="*/ 3313287 w 6223979"/>
              <a:gd name="connsiteY26" fmla="*/ 3567156 h 5552097"/>
              <a:gd name="connsiteX27" fmla="*/ 2656823 w 6223979"/>
              <a:gd name="connsiteY27" fmla="*/ 2910692 h 5552097"/>
              <a:gd name="connsiteX28" fmla="*/ 2656823 w 6223979"/>
              <a:gd name="connsiteY28" fmla="*/ 656464 h 5552097"/>
              <a:gd name="connsiteX29" fmla="*/ 2849097 w 6223979"/>
              <a:gd name="connsiteY29" fmla="*/ 192274 h 5552097"/>
              <a:gd name="connsiteX30" fmla="*/ 138004 w 6223979"/>
              <a:gd name="connsiteY30" fmla="*/ 591293 h 5552097"/>
              <a:gd name="connsiteX31" fmla="*/ 471176 w 6223979"/>
              <a:gd name="connsiteY31" fmla="*/ 453288 h 5552097"/>
              <a:gd name="connsiteX32" fmla="*/ 2089144 w 6223979"/>
              <a:gd name="connsiteY32" fmla="*/ 453288 h 5552097"/>
              <a:gd name="connsiteX33" fmla="*/ 2560320 w 6223979"/>
              <a:gd name="connsiteY33" fmla="*/ 924464 h 5552097"/>
              <a:gd name="connsiteX34" fmla="*/ 2560320 w 6223979"/>
              <a:gd name="connsiteY34" fmla="*/ 2542432 h 5552097"/>
              <a:gd name="connsiteX35" fmla="*/ 2089144 w 6223979"/>
              <a:gd name="connsiteY35" fmla="*/ 3013609 h 5552097"/>
              <a:gd name="connsiteX36" fmla="*/ 471176 w 6223979"/>
              <a:gd name="connsiteY36" fmla="*/ 3013609 h 5552097"/>
              <a:gd name="connsiteX37" fmla="*/ 0 w 6223979"/>
              <a:gd name="connsiteY37" fmla="*/ 2542433 h 5552097"/>
              <a:gd name="connsiteX38" fmla="*/ 0 w 6223979"/>
              <a:gd name="connsiteY38" fmla="*/ 924465 h 5552097"/>
              <a:gd name="connsiteX39" fmla="*/ 138004 w 6223979"/>
              <a:gd name="connsiteY39" fmla="*/ 591293 h 555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3979" h="5552097">
                <a:moveTo>
                  <a:pt x="2827003" y="3779233"/>
                </a:moveTo>
                <a:cubicBezTo>
                  <a:pt x="2889408" y="3716828"/>
                  <a:pt x="2975620" y="3678230"/>
                  <a:pt x="3070847" y="3678229"/>
                </a:cubicBezTo>
                <a:lnTo>
                  <a:pt x="4255019" y="3678229"/>
                </a:lnTo>
                <a:cubicBezTo>
                  <a:pt x="4445473" y="3678229"/>
                  <a:pt x="4599867" y="3832623"/>
                  <a:pt x="4599867" y="4023077"/>
                </a:cubicBezTo>
                <a:lnTo>
                  <a:pt x="4599867" y="5207249"/>
                </a:lnTo>
                <a:cubicBezTo>
                  <a:pt x="4599867" y="5397703"/>
                  <a:pt x="4445473" y="5552097"/>
                  <a:pt x="4255019" y="5552097"/>
                </a:cubicBezTo>
                <a:lnTo>
                  <a:pt x="3070847" y="5552097"/>
                </a:lnTo>
                <a:cubicBezTo>
                  <a:pt x="2880393" y="5552097"/>
                  <a:pt x="2725999" y="5397703"/>
                  <a:pt x="2725999" y="5207249"/>
                </a:cubicBezTo>
                <a:lnTo>
                  <a:pt x="2725999" y="4023077"/>
                </a:lnTo>
                <a:cubicBezTo>
                  <a:pt x="2725999" y="3927850"/>
                  <a:pt x="2764598" y="3841638"/>
                  <a:pt x="2827003" y="3779233"/>
                </a:cubicBezTo>
                <a:close/>
                <a:moveTo>
                  <a:pt x="846207" y="3212041"/>
                </a:moveTo>
                <a:cubicBezTo>
                  <a:pt x="908612" y="3149635"/>
                  <a:pt x="994824" y="3111037"/>
                  <a:pt x="1090051" y="3111037"/>
                </a:cubicBezTo>
                <a:lnTo>
                  <a:pt x="2274222" y="3111037"/>
                </a:lnTo>
                <a:cubicBezTo>
                  <a:pt x="2464677" y="3111037"/>
                  <a:pt x="2619071" y="3265431"/>
                  <a:pt x="2619070" y="3455885"/>
                </a:cubicBezTo>
                <a:lnTo>
                  <a:pt x="2619071" y="4640057"/>
                </a:lnTo>
                <a:cubicBezTo>
                  <a:pt x="2619071" y="4830511"/>
                  <a:pt x="2464677" y="4984905"/>
                  <a:pt x="2274223" y="4984905"/>
                </a:cubicBezTo>
                <a:lnTo>
                  <a:pt x="1090051" y="4984905"/>
                </a:lnTo>
                <a:cubicBezTo>
                  <a:pt x="899597" y="4984905"/>
                  <a:pt x="745203" y="4830511"/>
                  <a:pt x="745203" y="4640057"/>
                </a:cubicBezTo>
                <a:lnTo>
                  <a:pt x="745203" y="3455885"/>
                </a:lnTo>
                <a:cubicBezTo>
                  <a:pt x="745203" y="3360658"/>
                  <a:pt x="783801" y="3274446"/>
                  <a:pt x="846207" y="3212041"/>
                </a:cubicBezTo>
                <a:close/>
                <a:moveTo>
                  <a:pt x="2849097" y="192274"/>
                </a:moveTo>
                <a:cubicBezTo>
                  <a:pt x="2967894" y="73477"/>
                  <a:pt x="3132010" y="0"/>
                  <a:pt x="3313287" y="0"/>
                </a:cubicBezTo>
                <a:lnTo>
                  <a:pt x="3939004" y="0"/>
                </a:lnTo>
                <a:lnTo>
                  <a:pt x="6223979" y="2284975"/>
                </a:lnTo>
                <a:lnTo>
                  <a:pt x="6223979" y="2910692"/>
                </a:lnTo>
                <a:cubicBezTo>
                  <a:pt x="6223979" y="3273247"/>
                  <a:pt x="5930070" y="3567156"/>
                  <a:pt x="5567515" y="3567156"/>
                </a:cubicBezTo>
                <a:lnTo>
                  <a:pt x="3313287" y="3567156"/>
                </a:lnTo>
                <a:cubicBezTo>
                  <a:pt x="2950732" y="3567156"/>
                  <a:pt x="2656823" y="3273247"/>
                  <a:pt x="2656823" y="2910692"/>
                </a:cubicBezTo>
                <a:lnTo>
                  <a:pt x="2656823" y="656464"/>
                </a:lnTo>
                <a:cubicBezTo>
                  <a:pt x="2656823" y="475186"/>
                  <a:pt x="2730300" y="311071"/>
                  <a:pt x="2849097" y="192274"/>
                </a:cubicBezTo>
                <a:close/>
                <a:moveTo>
                  <a:pt x="138004" y="591293"/>
                </a:moveTo>
                <a:cubicBezTo>
                  <a:pt x="223271" y="506026"/>
                  <a:pt x="341065" y="453288"/>
                  <a:pt x="471176" y="453288"/>
                </a:cubicBezTo>
                <a:lnTo>
                  <a:pt x="2089144" y="453288"/>
                </a:lnTo>
                <a:cubicBezTo>
                  <a:pt x="2349367" y="453289"/>
                  <a:pt x="2560320" y="664242"/>
                  <a:pt x="2560320" y="924464"/>
                </a:cubicBezTo>
                <a:lnTo>
                  <a:pt x="2560320" y="2542432"/>
                </a:lnTo>
                <a:cubicBezTo>
                  <a:pt x="2560320" y="2802655"/>
                  <a:pt x="2349367" y="3013608"/>
                  <a:pt x="2089144" y="3013609"/>
                </a:cubicBezTo>
                <a:lnTo>
                  <a:pt x="471176" y="3013609"/>
                </a:lnTo>
                <a:cubicBezTo>
                  <a:pt x="210953" y="3013609"/>
                  <a:pt x="0" y="2802656"/>
                  <a:pt x="0" y="2542433"/>
                </a:cubicBezTo>
                <a:lnTo>
                  <a:pt x="0" y="924465"/>
                </a:lnTo>
                <a:cubicBezTo>
                  <a:pt x="0" y="794353"/>
                  <a:pt x="52739" y="676559"/>
                  <a:pt x="138004" y="591293"/>
                </a:cubicBezTo>
                <a:close/>
              </a:path>
            </a:pathLst>
          </a:custGeom>
          <a:solidFill>
            <a:srgbClr val="C6DFE7">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8412480" y="6487963"/>
            <a:ext cx="3017520" cy="277048"/>
          </a:xfrm>
          <a:prstGeom prst="rect">
            <a:avLst/>
          </a:prstGeom>
        </p:spPr>
      </p:pic>
      <p:sp>
        <p:nvSpPr>
          <p:cNvPr id="40" name="TextBox 39"/>
          <p:cNvSpPr txBox="1"/>
          <p:nvPr userDrawn="1"/>
        </p:nvSpPr>
        <p:spPr>
          <a:xfrm>
            <a:off x="10095384" y="6666235"/>
            <a:ext cx="1944216" cy="215444"/>
          </a:xfrm>
          <a:prstGeom prst="rect">
            <a:avLst/>
          </a:prstGeom>
          <a:noFill/>
        </p:spPr>
        <p:txBody>
          <a:bodyPr wrap="square" rtlCol="0" anchor="ctr">
            <a:spAutoFit/>
          </a:bodyPr>
          <a:lstStyle/>
          <a:p>
            <a:pPr algn="r"/>
            <a:r>
              <a:rPr lang="en-US" sz="800" i="1">
                <a:latin typeface="VWAG TheSans" panose="020B0502050302020203" pitchFamily="34" charset="0"/>
                <a:sym typeface="VWAG TheSans" panose="020B0502050302020203" pitchFamily="34" charset="0"/>
              </a:rPr>
              <a:t>www.vwits.in</a:t>
            </a:r>
          </a:p>
        </p:txBody>
      </p:sp>
      <p:sp>
        <p:nvSpPr>
          <p:cNvPr id="4" name="Title Placeholder 3"/>
          <p:cNvSpPr>
            <a:spLocks noGrp="1"/>
          </p:cNvSpPr>
          <p:nvPr>
            <p:ph type="title"/>
          </p:nvPr>
        </p:nvSpPr>
        <p:spPr>
          <a:xfrm>
            <a:off x="304800" y="243142"/>
            <a:ext cx="11203353" cy="442658"/>
          </a:xfrm>
          <a:prstGeom prst="rect">
            <a:avLst/>
          </a:prstGeom>
        </p:spPr>
        <p:txBody>
          <a:bodyPr vert="horz" lIns="0" tIns="45720" rIns="91440" bIns="45720" rtlCol="0" anchor="t">
            <a:noAutofit/>
          </a:bodyPr>
          <a:lstStyle/>
          <a:p>
            <a:r>
              <a:rPr lang="en-US"/>
              <a:t>Click to edit Master title style</a:t>
            </a:r>
          </a:p>
        </p:txBody>
      </p:sp>
      <p:grpSp>
        <p:nvGrpSpPr>
          <p:cNvPr id="45" name="Group 44"/>
          <p:cNvGrpSpPr/>
          <p:nvPr userDrawn="1"/>
        </p:nvGrpSpPr>
        <p:grpSpPr>
          <a:xfrm>
            <a:off x="744382" y="6679475"/>
            <a:ext cx="1230798" cy="137160"/>
            <a:chOff x="2468857" y="3962400"/>
            <a:chExt cx="1230798" cy="137160"/>
          </a:xfrm>
        </p:grpSpPr>
        <p:sp>
          <p:nvSpPr>
            <p:cNvPr id="46" name="Rectangle 16"/>
            <p:cNvSpPr/>
            <p:nvPr userDrawn="1"/>
          </p:nvSpPr>
          <p:spPr bwMode="auto">
            <a:xfrm>
              <a:off x="2468857" y="3962400"/>
              <a:ext cx="137160" cy="137160"/>
            </a:xfrm>
            <a:prstGeom prst="ellipse">
              <a:avLst/>
            </a:prstGeom>
            <a:solidFill>
              <a:srgbClr val="5F1939"/>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a:ln>
                  <a:noFill/>
                </a:ln>
                <a:solidFill>
                  <a:schemeClr val="tx1"/>
                </a:solidFill>
                <a:effectLst/>
                <a:latin typeface="VWAG TheSans" panose="020B0502050302020203" pitchFamily="34" charset="0"/>
                <a:sym typeface="VWAG TheSans" panose="020B0502050302020203" pitchFamily="34" charset="0"/>
              </a:endParaRPr>
            </a:p>
          </p:txBody>
        </p:sp>
        <p:sp>
          <p:nvSpPr>
            <p:cNvPr id="47" name="Rectangle 18"/>
            <p:cNvSpPr/>
            <p:nvPr userDrawn="1"/>
          </p:nvSpPr>
          <p:spPr bwMode="auto">
            <a:xfrm>
              <a:off x="2651130" y="3962400"/>
              <a:ext cx="137160" cy="137160"/>
            </a:xfrm>
            <a:prstGeom prst="ellipse">
              <a:avLst/>
            </a:prstGeom>
            <a:solidFill>
              <a:srgbClr val="A21E4D"/>
            </a:solidFill>
            <a:ln w="6350">
              <a:noFill/>
              <a:miter lim="800000"/>
              <a:headEnd/>
              <a:tailEnd/>
            </a:ln>
          </p:spPr>
          <p:txBody>
            <a:bodyPr wrap="none" lIns="50612" tIns="25306" rIns="50612" bIns="25306" anchor="ctr"/>
            <a:lstStyle/>
            <a:p>
              <a:pPr lvl="0" algn="ctr" defTabSz="674688"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48" name="Rectangle 19"/>
            <p:cNvSpPr/>
            <p:nvPr userDrawn="1"/>
          </p:nvSpPr>
          <p:spPr bwMode="auto">
            <a:xfrm>
              <a:off x="2833403" y="3962400"/>
              <a:ext cx="137160" cy="137160"/>
            </a:xfrm>
            <a:prstGeom prst="ellipse">
              <a:avLst/>
            </a:prstGeom>
            <a:solidFill>
              <a:srgbClr val="4C5356"/>
            </a:solidFill>
            <a:ln w="6350">
              <a:noFill/>
              <a:miter lim="800000"/>
              <a:headEnd/>
              <a:tailEnd/>
            </a:ln>
          </p:spPr>
          <p:txBody>
            <a:bodyPr wrap="none" lIns="71839" tIns="35920" rIns="71839" bIns="35920" anchor="ctr"/>
            <a:lstStyle/>
            <a:p>
              <a:pPr lvl="0" algn="ctr" defTabSz="958850"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49" name="Rectangle 20"/>
            <p:cNvSpPr/>
            <p:nvPr userDrawn="1"/>
          </p:nvSpPr>
          <p:spPr bwMode="auto">
            <a:xfrm>
              <a:off x="3015676" y="3962400"/>
              <a:ext cx="137160" cy="137160"/>
            </a:xfrm>
            <a:prstGeom prst="ellipse">
              <a:avLst/>
            </a:prstGeom>
            <a:solidFill>
              <a:srgbClr val="A8ADB3"/>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p>
              <a:pPr lvl="0" algn="ctr" defTabSz="674688" eaLnBrk="1" hangingPunct="1">
                <a:lnSpc>
                  <a:spcPct val="90000"/>
                </a:lnSpc>
                <a:spcBef>
                  <a:spcPts val="0"/>
                </a:spcBef>
                <a:spcAft>
                  <a:spcPts val="0"/>
                </a:spcAft>
              </a:pPr>
              <a:endParaRPr lang="en-US" sz="1050" b="1">
                <a:latin typeface="VWAG TheSans" panose="020B0502050302020203" pitchFamily="34" charset="0"/>
                <a:sym typeface="VWAG TheSans" panose="020B0502050302020203" pitchFamily="34" charset="0"/>
              </a:endParaRPr>
            </a:p>
          </p:txBody>
        </p:sp>
        <p:sp>
          <p:nvSpPr>
            <p:cNvPr id="50" name="Rectangle 21"/>
            <p:cNvSpPr/>
            <p:nvPr userDrawn="1"/>
          </p:nvSpPr>
          <p:spPr bwMode="auto">
            <a:xfrm>
              <a:off x="3197949" y="3962400"/>
              <a:ext cx="137160" cy="137160"/>
            </a:xfrm>
            <a:prstGeom prst="ellipse">
              <a:avLst/>
            </a:prstGeom>
            <a:solidFill>
              <a:srgbClr val="004666"/>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p>
              <a:pPr lvl="0" algn="ctr" defTabSz="958850"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sp>
          <p:nvSpPr>
            <p:cNvPr id="51" name="Rectangle 22"/>
            <p:cNvSpPr/>
            <p:nvPr userDrawn="1"/>
          </p:nvSpPr>
          <p:spPr bwMode="auto">
            <a:xfrm>
              <a:off x="3562495" y="3962400"/>
              <a:ext cx="137160" cy="137160"/>
            </a:xfrm>
            <a:prstGeom prst="ellipse">
              <a:avLst/>
            </a:prstGeom>
            <a:solidFill>
              <a:srgbClr val="C6DFE7"/>
            </a:solidFill>
            <a:ln w="635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839" tIns="35920" rIns="71839" bIns="35920" anchor="ctr"/>
            <a:lstStyle/>
            <a:p>
              <a:pPr lvl="0" algn="ctr" defTabSz="958850" eaLnBrk="1" hangingPunct="1">
                <a:lnSpc>
                  <a:spcPct val="90000"/>
                </a:lnSpc>
                <a:spcBef>
                  <a:spcPts val="0"/>
                </a:spcBef>
                <a:spcAft>
                  <a:spcPts val="0"/>
                </a:spcAft>
              </a:pPr>
              <a:endParaRPr lang="en-US" sz="1050" b="1">
                <a:latin typeface="VWAG TheSans" panose="020B0502050302020203" pitchFamily="34" charset="0"/>
                <a:sym typeface="VWAG TheSans" panose="020B0502050302020203" pitchFamily="34" charset="0"/>
              </a:endParaRPr>
            </a:p>
          </p:txBody>
        </p:sp>
        <p:sp>
          <p:nvSpPr>
            <p:cNvPr id="52" name="Rectangle 23"/>
            <p:cNvSpPr/>
            <p:nvPr userDrawn="1"/>
          </p:nvSpPr>
          <p:spPr bwMode="auto">
            <a:xfrm>
              <a:off x="3380222" y="3962400"/>
              <a:ext cx="137160" cy="137160"/>
            </a:xfrm>
            <a:prstGeom prst="ellipse">
              <a:avLst/>
            </a:prstGeom>
            <a:solidFill>
              <a:srgbClr val="006384"/>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0612" tIns="25306" rIns="50612" bIns="25306" anchor="ctr"/>
            <a:lstStyle/>
            <a:p>
              <a:pPr lvl="0" algn="ctr" defTabSz="674688" eaLnBrk="1" hangingPunct="1">
                <a:lnSpc>
                  <a:spcPct val="90000"/>
                </a:lnSpc>
                <a:spcBef>
                  <a:spcPts val="0"/>
                </a:spcBef>
                <a:spcAft>
                  <a:spcPts val="0"/>
                </a:spcAft>
              </a:pPr>
              <a:endParaRPr lang="en-US" sz="1050" b="1">
                <a:solidFill>
                  <a:schemeClr val="bg1"/>
                </a:solidFill>
                <a:latin typeface="VWAG TheSans" panose="020B0502050302020203" pitchFamily="34" charset="0"/>
                <a:sym typeface="VWAG TheSans" panose="020B0502050302020203" pitchFamily="34" charset="0"/>
              </a:endParaRPr>
            </a:p>
          </p:txBody>
        </p:sp>
      </p:grpSp>
      <p:sp>
        <p:nvSpPr>
          <p:cNvPr id="2" name="Rectangle 1"/>
          <p:cNvSpPr/>
          <p:nvPr userDrawn="1"/>
        </p:nvSpPr>
        <p:spPr bwMode="auto">
          <a:xfrm>
            <a:off x="658586" y="6400800"/>
            <a:ext cx="18288" cy="182880"/>
          </a:xfrm>
          <a:prstGeom prst="rect">
            <a:avLst/>
          </a:prstGeom>
          <a:solidFill>
            <a:srgbClr val="004666"/>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74688" eaLnBrk="1" latinLnBrk="0" hangingPunct="1">
              <a:lnSpc>
                <a:spcPct val="100000"/>
              </a:lnSpc>
              <a:buClrTx/>
              <a:buSzTx/>
              <a:buFontTx/>
              <a:buNone/>
              <a:tabLst/>
            </a:pPr>
            <a:endParaRPr kumimoji="0" lang="en-US" sz="1600" b="0" i="0" u="none" strike="noStrike" cap="none" normalizeH="0" baseline="0" err="1">
              <a:ln>
                <a:noFill/>
              </a:ln>
              <a:solidFill>
                <a:schemeClr val="bg1"/>
              </a:solidFill>
              <a:effectLst/>
              <a:latin typeface="+mj-lt"/>
            </a:endParaRPr>
          </a:p>
        </p:txBody>
      </p:sp>
      <p:pic>
        <p:nvPicPr>
          <p:cNvPr id="5" name="Picture 4"/>
          <p:cNvPicPr>
            <a:picLocks noChangeAspect="1"/>
          </p:cNvPicPr>
          <p:nvPr userDrawn="1"/>
        </p:nvPicPr>
        <p:blipFill>
          <a:blip r:embed="rId23">
            <a:lum bright="70000" contrast="-70000"/>
          </a:blip>
          <a:stretch>
            <a:fillRect/>
          </a:stretch>
        </p:blipFill>
        <p:spPr>
          <a:xfrm>
            <a:off x="7528154" y="576833"/>
            <a:ext cx="4663844" cy="103641"/>
          </a:xfrm>
          <a:prstGeom prst="rect">
            <a:avLst/>
          </a:prstGeom>
        </p:spPr>
      </p:pic>
    </p:spTree>
    <p:extLst>
      <p:ext uri="{BB962C8B-B14F-4D97-AF65-F5344CB8AC3E}">
        <p14:creationId xmlns:p14="http://schemas.microsoft.com/office/powerpoint/2010/main" val="2367861931"/>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Lst>
  <p:hf sldNum="0" hdr="0" dt="0"/>
  <p:txStyles>
    <p:titleStyle>
      <a:lvl1pPr algn="l" defTabSz="958827" rtl="0" eaLnBrk="1" fontAlgn="base" hangingPunct="1">
        <a:spcBef>
          <a:spcPct val="0"/>
        </a:spcBef>
        <a:spcAft>
          <a:spcPct val="0"/>
        </a:spcAft>
        <a:defRPr sz="2400" b="1">
          <a:solidFill>
            <a:srgbClr val="5F1939"/>
          </a:solidFill>
          <a:latin typeface="VWAG TheSans" panose="020B0502050302020203" pitchFamily="34" charset="0"/>
          <a:ea typeface="+mj-ea"/>
          <a:cs typeface="+mj-cs"/>
          <a:sym typeface="VWAG TheSans" panose="020B0502050302020203" pitchFamily="34" charset="0"/>
        </a:defRPr>
      </a:lvl1pPr>
      <a:lvl2pPr algn="l" defTabSz="958827" rtl="0" eaLnBrk="1" fontAlgn="base" hangingPunct="1">
        <a:spcBef>
          <a:spcPct val="0"/>
        </a:spcBef>
        <a:spcAft>
          <a:spcPct val="0"/>
        </a:spcAft>
        <a:defRPr sz="2000" b="1">
          <a:solidFill>
            <a:srgbClr val="5F1939"/>
          </a:solidFill>
          <a:latin typeface="VWAG TheSans" pitchFamily="34" charset="0"/>
        </a:defRPr>
      </a:lvl2pPr>
      <a:lvl3pPr algn="l" defTabSz="958827" rtl="0" eaLnBrk="1" fontAlgn="base" hangingPunct="1">
        <a:spcBef>
          <a:spcPct val="0"/>
        </a:spcBef>
        <a:spcAft>
          <a:spcPct val="0"/>
        </a:spcAft>
        <a:defRPr sz="2000" b="1">
          <a:solidFill>
            <a:srgbClr val="5F1939"/>
          </a:solidFill>
          <a:latin typeface="VWAG TheSans" pitchFamily="34" charset="0"/>
        </a:defRPr>
      </a:lvl3pPr>
      <a:lvl4pPr algn="l" defTabSz="958827" rtl="0" eaLnBrk="1" fontAlgn="base" hangingPunct="1">
        <a:spcBef>
          <a:spcPct val="0"/>
        </a:spcBef>
        <a:spcAft>
          <a:spcPct val="0"/>
        </a:spcAft>
        <a:defRPr sz="2000" b="1">
          <a:solidFill>
            <a:srgbClr val="5F1939"/>
          </a:solidFill>
          <a:latin typeface="VWAG TheSans" pitchFamily="34" charset="0"/>
        </a:defRPr>
      </a:lvl4pPr>
      <a:lvl5pPr algn="l" defTabSz="958827" rtl="0" eaLnBrk="1" fontAlgn="base" hangingPunct="1">
        <a:spcBef>
          <a:spcPct val="0"/>
        </a:spcBef>
        <a:spcAft>
          <a:spcPct val="0"/>
        </a:spcAft>
        <a:defRPr sz="2000" b="1">
          <a:solidFill>
            <a:srgbClr val="5F1939"/>
          </a:solidFill>
          <a:latin typeface="VWAG TheSans" pitchFamily="34" charset="0"/>
        </a:defRPr>
      </a:lvl5pPr>
      <a:lvl6pPr marL="457189" algn="l" defTabSz="958827" rtl="0" eaLnBrk="1" fontAlgn="base" hangingPunct="1">
        <a:spcBef>
          <a:spcPct val="0"/>
        </a:spcBef>
        <a:spcAft>
          <a:spcPct val="0"/>
        </a:spcAft>
        <a:defRPr sz="2000" b="1">
          <a:solidFill>
            <a:schemeClr val="tx2"/>
          </a:solidFill>
          <a:latin typeface="Arial" charset="0"/>
        </a:defRPr>
      </a:lvl6pPr>
      <a:lvl7pPr marL="914377" algn="l" defTabSz="958827" rtl="0" eaLnBrk="1" fontAlgn="base" hangingPunct="1">
        <a:spcBef>
          <a:spcPct val="0"/>
        </a:spcBef>
        <a:spcAft>
          <a:spcPct val="0"/>
        </a:spcAft>
        <a:defRPr sz="2000" b="1">
          <a:solidFill>
            <a:schemeClr val="tx2"/>
          </a:solidFill>
          <a:latin typeface="Arial" charset="0"/>
        </a:defRPr>
      </a:lvl7pPr>
      <a:lvl8pPr marL="1371566" algn="l" defTabSz="958827" rtl="0" eaLnBrk="1" fontAlgn="base" hangingPunct="1">
        <a:spcBef>
          <a:spcPct val="0"/>
        </a:spcBef>
        <a:spcAft>
          <a:spcPct val="0"/>
        </a:spcAft>
        <a:defRPr sz="2000" b="1">
          <a:solidFill>
            <a:schemeClr val="tx2"/>
          </a:solidFill>
          <a:latin typeface="Arial" charset="0"/>
        </a:defRPr>
      </a:lvl8pPr>
      <a:lvl9pPr marL="1828754" algn="l" defTabSz="958827" rtl="0" eaLnBrk="1" fontAlgn="base" hangingPunct="1">
        <a:spcBef>
          <a:spcPct val="0"/>
        </a:spcBef>
        <a:spcAft>
          <a:spcPct val="0"/>
        </a:spcAft>
        <a:defRPr sz="2000" b="1">
          <a:solidFill>
            <a:schemeClr val="tx2"/>
          </a:solidFill>
          <a:latin typeface="Arial" charset="0"/>
        </a:defRPr>
      </a:lvl9pPr>
    </p:titleStyle>
    <p:bodyStyle>
      <a:lvl1pPr algn="l" defTabSz="958827" rtl="0" eaLnBrk="1" fontAlgn="base" hangingPunct="1">
        <a:lnSpc>
          <a:spcPct val="110000"/>
        </a:lnSpc>
        <a:spcBef>
          <a:spcPct val="0"/>
        </a:spcBef>
        <a:spcAft>
          <a:spcPct val="25000"/>
        </a:spcAft>
        <a:defRPr sz="1867">
          <a:solidFill>
            <a:schemeClr val="tx1"/>
          </a:solidFill>
          <a:latin typeface="VWAG TheSans" panose="020B0502050302020203" pitchFamily="34" charset="0"/>
          <a:ea typeface="+mn-ea"/>
          <a:cs typeface="+mn-cs"/>
          <a:sym typeface="VWAG TheSans" panose="020B0502050302020203" pitchFamily="34" charset="0"/>
        </a:defRPr>
      </a:lvl1pPr>
      <a:lvl2pPr marL="190495" indent="-188909" algn="l" defTabSz="958827" rtl="0" eaLnBrk="1" fontAlgn="base" hangingPunct="1">
        <a:lnSpc>
          <a:spcPct val="110000"/>
        </a:lnSpc>
        <a:spcBef>
          <a:spcPct val="0"/>
        </a:spcBef>
        <a:spcAft>
          <a:spcPct val="25000"/>
        </a:spcAft>
        <a:buChar char="•"/>
        <a:defRPr sz="1867">
          <a:solidFill>
            <a:schemeClr val="tx1"/>
          </a:solidFill>
          <a:latin typeface="VWAG TheSans" panose="020B0502050302020203" pitchFamily="34" charset="0"/>
          <a:sym typeface="VWAG TheSans" panose="020B0502050302020203" pitchFamily="34" charset="0"/>
        </a:defRPr>
      </a:lvl2pPr>
      <a:lvl3pPr marL="380990" indent="-188909" algn="l" defTabSz="958827" rtl="0" eaLnBrk="1" fontAlgn="base" hangingPunct="1">
        <a:lnSpc>
          <a:spcPct val="110000"/>
        </a:lnSpc>
        <a:spcBef>
          <a:spcPct val="0"/>
        </a:spcBef>
        <a:spcAft>
          <a:spcPct val="25000"/>
        </a:spcAft>
        <a:buChar char="•"/>
        <a:defRPr sz="1867">
          <a:solidFill>
            <a:schemeClr val="tx1"/>
          </a:solidFill>
          <a:latin typeface="VWAG TheSans" panose="020B0502050302020203" pitchFamily="34" charset="0"/>
          <a:sym typeface="VWAG TheSans" panose="020B0502050302020203" pitchFamily="34" charset="0"/>
        </a:defRPr>
      </a:lvl3pPr>
      <a:lvl4pPr marL="571486" indent="-188909" algn="l" defTabSz="958827" rtl="0" eaLnBrk="1" fontAlgn="base" hangingPunct="1">
        <a:lnSpc>
          <a:spcPct val="110000"/>
        </a:lnSpc>
        <a:spcBef>
          <a:spcPct val="0"/>
        </a:spcBef>
        <a:spcAft>
          <a:spcPct val="25000"/>
        </a:spcAft>
        <a:buChar char="•"/>
        <a:defRPr sz="1867">
          <a:solidFill>
            <a:schemeClr val="tx1"/>
          </a:solidFill>
          <a:latin typeface="VWAG TheSans" panose="020B0502050302020203" pitchFamily="34" charset="0"/>
          <a:sym typeface="VWAG TheSans" panose="020B0502050302020203" pitchFamily="34" charset="0"/>
        </a:defRPr>
      </a:lvl4pPr>
      <a:lvl5pPr marL="761981" indent="-188909" algn="l" defTabSz="958827" rtl="0" eaLnBrk="1" fontAlgn="base" hangingPunct="1">
        <a:lnSpc>
          <a:spcPct val="110000"/>
        </a:lnSpc>
        <a:spcBef>
          <a:spcPct val="0"/>
        </a:spcBef>
        <a:spcAft>
          <a:spcPct val="25000"/>
        </a:spcAft>
        <a:buChar char="•"/>
        <a:defRPr sz="1867">
          <a:solidFill>
            <a:schemeClr val="tx1"/>
          </a:solidFill>
          <a:latin typeface="VWAG TheSans" panose="020B0502050302020203" pitchFamily="34" charset="0"/>
          <a:sym typeface="VWAG TheSans" panose="020B0502050302020203" pitchFamily="34" charset="0"/>
        </a:defRPr>
      </a:lvl5pPr>
      <a:lvl6pPr marL="1219170" indent="-188909" algn="l" defTabSz="958827" rtl="0" eaLnBrk="1" fontAlgn="base" hangingPunct="1">
        <a:lnSpc>
          <a:spcPct val="110000"/>
        </a:lnSpc>
        <a:spcBef>
          <a:spcPct val="0"/>
        </a:spcBef>
        <a:spcAft>
          <a:spcPct val="25000"/>
        </a:spcAft>
        <a:buChar char="•"/>
        <a:defRPr>
          <a:solidFill>
            <a:schemeClr val="tx1"/>
          </a:solidFill>
          <a:latin typeface="+mn-lt"/>
        </a:defRPr>
      </a:lvl6pPr>
      <a:lvl7pPr marL="1676358" indent="-188909" algn="l" defTabSz="958827" rtl="0" eaLnBrk="1" fontAlgn="base" hangingPunct="1">
        <a:lnSpc>
          <a:spcPct val="110000"/>
        </a:lnSpc>
        <a:spcBef>
          <a:spcPct val="0"/>
        </a:spcBef>
        <a:spcAft>
          <a:spcPct val="25000"/>
        </a:spcAft>
        <a:buChar char="•"/>
        <a:defRPr>
          <a:solidFill>
            <a:schemeClr val="tx1"/>
          </a:solidFill>
          <a:latin typeface="+mn-lt"/>
        </a:defRPr>
      </a:lvl7pPr>
      <a:lvl8pPr marL="2133547" indent="-188909" algn="l" defTabSz="958827" rtl="0" eaLnBrk="1" fontAlgn="base" hangingPunct="1">
        <a:lnSpc>
          <a:spcPct val="110000"/>
        </a:lnSpc>
        <a:spcBef>
          <a:spcPct val="0"/>
        </a:spcBef>
        <a:spcAft>
          <a:spcPct val="25000"/>
        </a:spcAft>
        <a:buChar char="•"/>
        <a:defRPr>
          <a:solidFill>
            <a:schemeClr val="tx1"/>
          </a:solidFill>
          <a:latin typeface="+mn-lt"/>
        </a:defRPr>
      </a:lvl8pPr>
      <a:lvl9pPr marL="2590735" indent="-188909" algn="l" defTabSz="958827" rtl="0" eaLnBrk="1" fontAlgn="base" hangingPunct="1">
        <a:lnSpc>
          <a:spcPct val="110000"/>
        </a:lnSpc>
        <a:spcBef>
          <a:spcPct val="0"/>
        </a:spcBef>
        <a:spcAft>
          <a:spcPct val="25000"/>
        </a:spcAft>
        <a:buChar char="•"/>
        <a:defRPr>
          <a:solidFill>
            <a:schemeClr val="tx1"/>
          </a:solidFill>
          <a:latin typeface="+mn-lt"/>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77C6BE81-65F0-D9C7-5C97-DDDB4001769F}"/>
              </a:ext>
            </a:extLst>
          </p:cNvPr>
          <p:cNvGraphicFramePr>
            <a:graphicFrameLocks noChangeAspect="1"/>
          </p:cNvGraphicFramePr>
          <p:nvPr userDrawn="1">
            <p:custDataLst>
              <p:tags r:id="rId49"/>
            </p:custDataLst>
            <p:extLst>
              <p:ext uri="{D42A27DB-BD31-4B8C-83A1-F6EECF244321}">
                <p14:modId xmlns:p14="http://schemas.microsoft.com/office/powerpoint/2010/main" val="460278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473" imgH="473" progId="TCLayout.ActiveDocument.1">
                  <p:embed/>
                </p:oleObj>
              </mc:Choice>
              <mc:Fallback>
                <p:oleObj name="think-cell Folie" r:id="rId50" imgW="473" imgH="473" progId="TCLayout.ActiveDocument.1">
                  <p:embed/>
                  <p:pic>
                    <p:nvPicPr>
                      <p:cNvPr id="17" name="think-cell data - do not delete" hidden="1">
                        <a:extLst>
                          <a:ext uri="{FF2B5EF4-FFF2-40B4-BE49-F238E27FC236}">
                            <a16:creationId xmlns:a16="http://schemas.microsoft.com/office/drawing/2014/main" id="{77C6BE81-65F0-D9C7-5C97-DDDB4001769F}"/>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a:extLst>
              <a:ext uri="{FF2B5EF4-FFF2-40B4-BE49-F238E27FC236}">
                <a16:creationId xmlns:a16="http://schemas.microsoft.com/office/drawing/2014/main" id="{890C9229-FEB3-A487-38D6-95B1C7DC09F1}"/>
              </a:ext>
            </a:extLst>
          </p:cNvPr>
          <p:cNvPicPr>
            <a:picLocks noChangeAspect="1"/>
          </p:cNvPicPr>
          <p:nvPr userDrawn="1"/>
        </p:nvPicPr>
        <p:blipFill>
          <a:blip r:embed="rId52"/>
          <a:stretch>
            <a:fillRect/>
          </a:stretch>
        </p:blipFill>
        <p:spPr>
          <a:xfrm>
            <a:off x="10377521" y="167108"/>
            <a:ext cx="1494855" cy="484088"/>
          </a:xfrm>
          <a:prstGeom prst="rect">
            <a:avLst/>
          </a:prstGeom>
        </p:spPr>
      </p:pic>
      <p:sp>
        <p:nvSpPr>
          <p:cNvPr id="16" name="Textfeld 15">
            <a:extLst>
              <a:ext uri="{FF2B5EF4-FFF2-40B4-BE49-F238E27FC236}">
                <a16:creationId xmlns:a16="http://schemas.microsoft.com/office/drawing/2014/main" id="{1912A5BB-91A2-FFF6-D60A-18188CEE7551}"/>
              </a:ext>
            </a:extLst>
          </p:cNvPr>
          <p:cNvSpPr txBox="1"/>
          <p:nvPr>
            <p:extLst>
              <p:ext uri="{1162E1C5-73C7-4A58-AE30-91384D911F3F}">
                <p184:classification xmlns:p184="http://schemas.microsoft.com/office/powerpoint/2018/4/main" val="ftr"/>
              </p:ext>
            </p:extLst>
          </p:nvPr>
        </p:nvSpPr>
        <p:spPr>
          <a:xfrm>
            <a:off x="63500" y="6672580"/>
            <a:ext cx="774700"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2415281387"/>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3" r:id="rId33"/>
    <p:sldLayoutId id="2147483924" r:id="rId34"/>
    <p:sldLayoutId id="2147483925" r:id="rId35"/>
    <p:sldLayoutId id="2147483926" r:id="rId36"/>
    <p:sldLayoutId id="2147483927" r:id="rId37"/>
    <p:sldLayoutId id="2147483928" r:id="rId38"/>
    <p:sldLayoutId id="2147483929" r:id="rId39"/>
    <p:sldLayoutId id="2147483930" r:id="rId40"/>
    <p:sldLayoutId id="2147483931" r:id="rId41"/>
    <p:sldLayoutId id="2147483932" r:id="rId42"/>
    <p:sldLayoutId id="2147483933" r:id="rId43"/>
    <p:sldLayoutId id="2147483934" r:id="rId44"/>
    <p:sldLayoutId id="2147483935" r:id="rId45"/>
    <p:sldLayoutId id="2147483936" r:id="rId46"/>
    <p:sldLayoutId id="2147483937" r:id="rId4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31DCB35-B955-4B6A-ECE9-575DF5FA16B5}"/>
              </a:ext>
            </a:extLst>
          </p:cNvPr>
          <p:cNvGraphicFramePr>
            <a:graphicFrameLocks noChangeAspect="1"/>
          </p:cNvGraphicFramePr>
          <p:nvPr userDrawn="1">
            <p:custDataLst>
              <p:tags r:id="rId49"/>
            </p:custDataLst>
            <p:extLst>
              <p:ext uri="{D42A27DB-BD31-4B8C-83A1-F6EECF244321}">
                <p14:modId xmlns:p14="http://schemas.microsoft.com/office/powerpoint/2010/main" val="411517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473" imgH="473" progId="TCLayout.ActiveDocument.1">
                  <p:embed/>
                </p:oleObj>
              </mc:Choice>
              <mc:Fallback>
                <p:oleObj name="think-cell Folie" r:id="rId50" imgW="473" imgH="473" progId="TCLayout.ActiveDocument.1">
                  <p:embed/>
                  <p:pic>
                    <p:nvPicPr>
                      <p:cNvPr id="19" name="think-cell data - do not delete" hidden="1">
                        <a:extLst>
                          <a:ext uri="{FF2B5EF4-FFF2-40B4-BE49-F238E27FC236}">
                            <a16:creationId xmlns:a16="http://schemas.microsoft.com/office/drawing/2014/main" id="{031DCB35-B955-4B6A-ECE9-575DF5FA16B5}"/>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a:extLst>
              <a:ext uri="{FF2B5EF4-FFF2-40B4-BE49-F238E27FC236}">
                <a16:creationId xmlns:a16="http://schemas.microsoft.com/office/drawing/2014/main" id="{890C9229-FEB3-A487-38D6-95B1C7DC09F1}"/>
              </a:ext>
            </a:extLst>
          </p:cNvPr>
          <p:cNvPicPr>
            <a:picLocks noChangeAspect="1"/>
          </p:cNvPicPr>
          <p:nvPr userDrawn="1"/>
        </p:nvPicPr>
        <p:blipFill>
          <a:blip r:embed="rId52"/>
          <a:stretch>
            <a:fillRect/>
          </a:stretch>
        </p:blipFill>
        <p:spPr>
          <a:xfrm>
            <a:off x="10377521" y="167108"/>
            <a:ext cx="1494855" cy="484088"/>
          </a:xfrm>
          <a:prstGeom prst="rect">
            <a:avLst/>
          </a:prstGeom>
        </p:spPr>
      </p:pic>
      <p:sp>
        <p:nvSpPr>
          <p:cNvPr id="16" name="Textfeld 15">
            <a:extLst>
              <a:ext uri="{FF2B5EF4-FFF2-40B4-BE49-F238E27FC236}">
                <a16:creationId xmlns:a16="http://schemas.microsoft.com/office/drawing/2014/main" id="{1912A5BB-91A2-FFF6-D60A-18188CEE7551}"/>
              </a:ext>
            </a:extLst>
          </p:cNvPr>
          <p:cNvSpPr txBox="1"/>
          <p:nvPr>
            <p:extLst>
              <p:ext uri="{1162E1C5-73C7-4A58-AE30-91384D911F3F}">
                <p184:classification xmlns:p184="http://schemas.microsoft.com/office/powerpoint/2018/4/main" val="ftr"/>
              </p:ext>
            </p:extLst>
          </p:nvPr>
        </p:nvSpPr>
        <p:spPr>
          <a:xfrm>
            <a:off x="63500" y="6672580"/>
            <a:ext cx="774700"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1344272913"/>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11DF0B-D008-EF75-E14D-AC0CD4EB6136}"/>
              </a:ext>
            </a:extLst>
          </p:cNvPr>
          <p:cNvSpPr/>
          <p:nvPr/>
        </p:nvSpPr>
        <p:spPr>
          <a:xfrm>
            <a:off x="0" y="0"/>
            <a:ext cx="12192000" cy="6858000"/>
          </a:xfrm>
          <a:prstGeom prst="rect">
            <a:avLst/>
          </a:prstGeom>
          <a:solidFill>
            <a:schemeClr val="accent6">
              <a:alpha val="5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1400" err="1"/>
          </a:p>
        </p:txBody>
      </p:sp>
      <p:sp>
        <p:nvSpPr>
          <p:cNvPr id="2" name="Rectangle 1">
            <a:extLst>
              <a:ext uri="{FF2B5EF4-FFF2-40B4-BE49-F238E27FC236}">
                <a16:creationId xmlns:a16="http://schemas.microsoft.com/office/drawing/2014/main" id="{2B11416C-405E-7612-C838-92460D22224B}"/>
              </a:ext>
            </a:extLst>
          </p:cNvPr>
          <p:cNvSpPr/>
          <p:nvPr/>
        </p:nvSpPr>
        <p:spPr>
          <a:xfrm>
            <a:off x="0" y="3570136"/>
            <a:ext cx="12192000" cy="2170706"/>
          </a:xfrm>
          <a:prstGeom prst="rect">
            <a:avLst/>
          </a:prstGeom>
          <a:gradFill flip="none" rotWithShape="1">
            <a:gsLst>
              <a:gs pos="84488">
                <a:srgbClr val="AEA029"/>
              </a:gs>
              <a:gs pos="53000">
                <a:srgbClr val="AEA029">
                  <a:alpha val="87000"/>
                </a:srgbClr>
              </a:gs>
              <a:gs pos="66000">
                <a:srgbClr val="AEA029"/>
              </a:gs>
              <a:gs pos="94828">
                <a:srgbClr val="AEA029"/>
              </a:gs>
              <a:gs pos="37000">
                <a:srgbClr val="E0D67A">
                  <a:alpha val="52000"/>
                </a:srgbClr>
              </a:gs>
              <a:gs pos="18000">
                <a:srgbClr val="E0D67A">
                  <a:alpha val="36000"/>
                </a:srgbClr>
              </a:gs>
              <a:gs pos="0">
                <a:srgbClr val="E0D67A">
                  <a:alpha val="9000"/>
                </a:srgbClr>
              </a:gs>
            </a:gsLst>
            <a:lin ang="10800000" scaled="1"/>
            <a:tileRect/>
          </a:gradFill>
          <a:ln>
            <a:noFill/>
          </a:ln>
          <a:effectLst>
            <a:softEdge rad="63500"/>
          </a:effectLst>
        </p:spPr>
        <p:style>
          <a:lnRef idx="0">
            <a:scrgbClr r="0" g="0" b="0"/>
          </a:lnRef>
          <a:fillRef idx="0">
            <a:scrgbClr r="0" g="0" b="0"/>
          </a:fillRef>
          <a:effectRef idx="0">
            <a:scrgbClr r="0" g="0" b="0"/>
          </a:effectRef>
          <a:fontRef idx="minor">
            <a:schemeClr val="lt1"/>
          </a:fontRef>
        </p:style>
        <p:txBody>
          <a:bodyPr lIns="180000" tIns="180000" rIns="180000" bIns="180000" rtlCol="0" anchor="ctr"/>
          <a:lstStyle/>
          <a:p>
            <a:pPr algn="ctr"/>
            <a:endParaRPr lang="en-US" sz="1400"/>
          </a:p>
        </p:txBody>
      </p:sp>
      <p:sp>
        <p:nvSpPr>
          <p:cNvPr id="4" name="Titel 3">
            <a:extLst>
              <a:ext uri="{FF2B5EF4-FFF2-40B4-BE49-F238E27FC236}">
                <a16:creationId xmlns:a16="http://schemas.microsoft.com/office/drawing/2014/main" id="{F683CB07-4483-6494-62BC-B20123E4690B}"/>
              </a:ext>
            </a:extLst>
          </p:cNvPr>
          <p:cNvSpPr>
            <a:spLocks noGrp="1"/>
          </p:cNvSpPr>
          <p:nvPr>
            <p:ph type="ctrTitle"/>
          </p:nvPr>
        </p:nvSpPr>
        <p:spPr>
          <a:xfrm>
            <a:off x="282258" y="4115341"/>
            <a:ext cx="7584964" cy="1080296"/>
          </a:xfrm>
        </p:spPr>
        <p:txBody>
          <a:bodyPr/>
          <a:lstStyle/>
          <a:p>
            <a:r>
              <a:rPr lang="en-US" sz="4000" noProof="0"/>
              <a:t>FutureTech</a:t>
            </a:r>
            <a:br>
              <a:rPr lang="en-US" sz="4000" noProof="0"/>
            </a:br>
            <a:br>
              <a:rPr lang="en-US" sz="2000" noProof="0"/>
            </a:br>
            <a:r>
              <a:rPr lang="en-US" sz="1800" noProof="0"/>
              <a:t>Classification: Internal</a:t>
            </a:r>
            <a:endParaRPr lang="en-GB" sz="2800"/>
          </a:p>
        </p:txBody>
      </p:sp>
      <p:pic>
        <p:nvPicPr>
          <p:cNvPr id="6" name="Picture 5" descr="A black background with white text&#10;&#10;AI-generated content may be incorrect.">
            <a:extLst>
              <a:ext uri="{FF2B5EF4-FFF2-40B4-BE49-F238E27FC236}">
                <a16:creationId xmlns:a16="http://schemas.microsoft.com/office/drawing/2014/main" id="{5648A299-8601-9DD3-D43B-06B521B773A2}"/>
              </a:ext>
            </a:extLst>
          </p:cNvPr>
          <p:cNvPicPr>
            <a:picLocks noChangeAspect="1"/>
          </p:cNvPicPr>
          <p:nvPr/>
        </p:nvPicPr>
        <p:blipFill>
          <a:blip r:embed="rId3"/>
          <a:stretch>
            <a:fillRect/>
          </a:stretch>
        </p:blipFill>
        <p:spPr>
          <a:xfrm>
            <a:off x="7355379" y="-195150"/>
            <a:ext cx="5071745" cy="1427602"/>
          </a:xfrm>
          <a:prstGeom prst="rect">
            <a:avLst/>
          </a:prstGeom>
        </p:spPr>
      </p:pic>
    </p:spTree>
    <p:extLst>
      <p:ext uri="{BB962C8B-B14F-4D97-AF65-F5344CB8AC3E}">
        <p14:creationId xmlns:p14="http://schemas.microsoft.com/office/powerpoint/2010/main" val="4002660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3">
            <a:extLst>
              <a:ext uri="{FF2B5EF4-FFF2-40B4-BE49-F238E27FC236}">
                <a16:creationId xmlns:a16="http://schemas.microsoft.com/office/drawing/2014/main" id="{1A465860-DA3D-73AC-4353-296DC74B3F48}"/>
              </a:ext>
            </a:extLst>
          </p:cNvPr>
          <p:cNvSpPr txBox="1">
            <a:spLocks/>
          </p:cNvSpPr>
          <p:nvPr/>
        </p:nvSpPr>
        <p:spPr>
          <a:xfrm>
            <a:off x="407988" y="296104"/>
            <a:ext cx="7584964" cy="488380"/>
          </a:xfrm>
          <a:prstGeom prst="rect">
            <a:avLst/>
          </a:prstGeom>
        </p:spPr>
        <p:txBody>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sz="3200">
                <a:latin typeface="VWAG TheSans" panose="020B0502050302020203" pitchFamily="34" charset="0"/>
              </a:rPr>
              <a:t>Agenda</a:t>
            </a:r>
            <a:endParaRPr lang="en-GB" sz="1800">
              <a:latin typeface="VWAG TheSans" panose="020B0502050302020203" pitchFamily="34" charset="0"/>
            </a:endParaRPr>
          </a:p>
        </p:txBody>
      </p:sp>
      <p:sp>
        <p:nvSpPr>
          <p:cNvPr id="2" name="TextBox 1">
            <a:extLst>
              <a:ext uri="{FF2B5EF4-FFF2-40B4-BE49-F238E27FC236}">
                <a16:creationId xmlns:a16="http://schemas.microsoft.com/office/drawing/2014/main" id="{C881C178-76DC-E091-FD83-36C729E73F9A}"/>
              </a:ext>
            </a:extLst>
          </p:cNvPr>
          <p:cNvSpPr txBox="1"/>
          <p:nvPr/>
        </p:nvSpPr>
        <p:spPr>
          <a:xfrm>
            <a:off x="835419" y="1706451"/>
            <a:ext cx="10005134" cy="1538883"/>
          </a:xfrm>
          <a:prstGeom prst="rect">
            <a:avLst/>
          </a:prstGeom>
          <a:noFill/>
        </p:spPr>
        <p:txBody>
          <a:bodyPr wrap="square" lIns="0" tIns="0" rIns="0" bIns="0" rtlCol="0" anchor="t">
            <a:spAutoFit/>
          </a:bodyPr>
          <a:lstStyle/>
          <a:p>
            <a:pPr marL="742950" lvl="1" indent="-285750">
              <a:buFont typeface="Wingdings" panose="05000000000000000000" pitchFamily="2" charset="2"/>
              <a:buChar char="§"/>
            </a:pPr>
            <a:r>
              <a:rPr lang="en-US" sz="2000" dirty="0">
                <a:solidFill>
                  <a:schemeClr val="tx2"/>
                </a:solidFill>
              </a:rPr>
              <a:t>Overview							(2 mins)</a:t>
            </a:r>
          </a:p>
          <a:p>
            <a:pPr marL="742950" lvl="1" indent="-285750">
              <a:buFont typeface="Wingdings" panose="05000000000000000000" pitchFamily="2" charset="2"/>
              <a:buChar char="§"/>
            </a:pPr>
            <a:endParaRPr lang="en-US" sz="2000" dirty="0">
              <a:solidFill>
                <a:schemeClr val="tx2"/>
              </a:solidFill>
            </a:endParaRPr>
          </a:p>
          <a:p>
            <a:pPr lvl="1"/>
            <a:r>
              <a:rPr lang="en-US" sz="2000" dirty="0">
                <a:solidFill>
                  <a:schemeClr val="tx2"/>
                </a:solidFill>
              </a:rPr>
              <a:t>							</a:t>
            </a:r>
          </a:p>
          <a:p>
            <a:pPr marL="742950" lvl="1" indent="-285750">
              <a:buFont typeface="Wingdings" panose="05000000000000000000" pitchFamily="2" charset="2"/>
              <a:buChar char="§"/>
            </a:pPr>
            <a:endParaRPr lang="en-US" sz="2000" dirty="0">
              <a:solidFill>
                <a:schemeClr val="tx2"/>
              </a:solidFill>
            </a:endParaRPr>
          </a:p>
          <a:p>
            <a:pPr lvl="1"/>
            <a:endParaRPr lang="en-US" sz="2000" dirty="0">
              <a:solidFill>
                <a:schemeClr val="tx2"/>
              </a:solidFill>
            </a:endParaRPr>
          </a:p>
        </p:txBody>
      </p:sp>
    </p:spTree>
    <p:extLst>
      <p:ext uri="{BB962C8B-B14F-4D97-AF65-F5344CB8AC3E}">
        <p14:creationId xmlns:p14="http://schemas.microsoft.com/office/powerpoint/2010/main" val="491906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2.xml><?xml version="1.0" encoding="utf-8"?>
<a:theme xmlns:a="http://schemas.openxmlformats.org/drawingml/2006/main" name="1_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3.xml><?xml version="1.0" encoding="utf-8"?>
<a:theme xmlns:a="http://schemas.openxmlformats.org/drawingml/2006/main" name="2_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4.xml><?xml version="1.0" encoding="utf-8"?>
<a:theme xmlns:a="http://schemas.openxmlformats.org/drawingml/2006/main" name="3_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5.xml><?xml version="1.0" encoding="utf-8"?>
<a:theme xmlns:a="http://schemas.openxmlformats.org/drawingml/2006/main" name="1_VWITS_169">
  <a:themeElements>
    <a:clrScheme name="VWITS Scheme">
      <a:dk1>
        <a:srgbClr val="000000"/>
      </a:dk1>
      <a:lt1>
        <a:srgbClr val="FFFFFF"/>
      </a:lt1>
      <a:dk2>
        <a:srgbClr val="5C1939"/>
      </a:dk2>
      <a:lt2>
        <a:srgbClr val="80B0C8"/>
      </a:lt2>
      <a:accent1>
        <a:srgbClr val="5F1939"/>
      </a:accent1>
      <a:accent2>
        <a:srgbClr val="A8ADB3"/>
      </a:accent2>
      <a:accent3>
        <a:srgbClr val="D4D6D9"/>
      </a:accent3>
      <a:accent4>
        <a:srgbClr val="006384"/>
      </a:accent4>
      <a:accent5>
        <a:srgbClr val="C6DFE7"/>
      </a:accent5>
      <a:accent6>
        <a:srgbClr val="004666"/>
      </a:accent6>
      <a:hlink>
        <a:srgbClr val="A21E4D"/>
      </a:hlink>
      <a:folHlink>
        <a:srgbClr val="80B0C8"/>
      </a:folHlink>
    </a:clrScheme>
    <a:fontScheme name="VWITS">
      <a:majorFont>
        <a:latin typeface="VWAG TheSans"/>
        <a:ea typeface=""/>
        <a:cs typeface=""/>
      </a:majorFont>
      <a:minorFont>
        <a:latin typeface="VWAG The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4666"/>
        </a:solidFill>
        <a:ln w="9525" cap="flat" cmpd="sng" algn="ctr">
          <a:noFill/>
          <a:prstDash val="solid"/>
          <a:round/>
          <a:headEnd type="none" w="med" len="med"/>
          <a:tailEnd type="none" w="med" len="med"/>
        </a:ln>
        <a:effectLst/>
      </a:spPr>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defPPr marL="0" marR="0" indent="0" algn="ctr" defTabSz="674688" rtl="0" eaLnBrk="1" fontAlgn="base" latinLnBrk="0" hangingPunct="1">
          <a:lnSpc>
            <a:spcPct val="100000"/>
          </a:lnSpc>
          <a:spcBef>
            <a:spcPct val="50000"/>
          </a:spcBef>
          <a:spcAft>
            <a:spcPct val="0"/>
          </a:spcAft>
          <a:buClrTx/>
          <a:buSzTx/>
          <a:buFontTx/>
          <a:buNone/>
          <a:tabLst/>
          <a:defRPr kumimoji="0" sz="1600" b="0" i="0" u="none" strike="noStrike" cap="none" normalizeH="0" baseline="0" dirty="0" err="1" smtClean="0">
            <a:ln>
              <a:noFill/>
            </a:ln>
            <a:solidFill>
              <a:schemeClr val="bg1"/>
            </a:solidFill>
            <a:effectLst/>
            <a:latin typeface="+mj-l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674688" rtl="0" eaLnBrk="1" fontAlgn="base" latinLnBrk="0" hangingPunct="1">
          <a:lnSpc>
            <a:spcPct val="100000"/>
          </a:lnSpc>
          <a:spcBef>
            <a:spcPct val="50000"/>
          </a:spcBef>
          <a:spcAft>
            <a:spcPct val="0"/>
          </a:spcAft>
          <a:buClrTx/>
          <a:buSzTx/>
          <a:buFontTx/>
          <a:buNone/>
          <a:tabLst/>
          <a:defRPr kumimoji="0" lang="de-DE" altLang="de-DE" sz="1300" b="0" i="0" u="none" strike="noStrike" cap="none" normalizeH="0" baseline="0" smtClean="0">
            <a:ln>
              <a:noFill/>
            </a:ln>
            <a:solidFill>
              <a:schemeClr val="tx1"/>
            </a:solidFill>
            <a:effectLst/>
            <a:latin typeface="Arial" charset="0"/>
          </a:defRPr>
        </a:defPPr>
      </a:lstStyle>
    </a:lnDef>
    <a:txDef>
      <a:spPr>
        <a:noFill/>
        <a:ln>
          <a:noFill/>
        </a:ln>
      </a:spPr>
      <a:bodyPr wrap="square" rtlCol="0" anchor="t" anchorCtr="0">
        <a:noAutofit/>
      </a:bodyPr>
      <a:lstStyle>
        <a:defPPr>
          <a:spcBef>
            <a:spcPts val="0"/>
          </a:spcBef>
          <a:defRPr sz="1600" b="1" dirty="0" err="1" smtClean="0">
            <a:latin typeface="+mj-lt"/>
          </a:defRPr>
        </a:defPPr>
      </a:lstStyle>
    </a:txDef>
  </a:objectDefaults>
  <a:extraClrSchemeLst>
    <a:extraClrScheme>
      <a:clrScheme name="VWAG_Presentation_q_de 1">
        <a:dk1>
          <a:srgbClr val="000000"/>
        </a:dk1>
        <a:lt1>
          <a:srgbClr val="FFFFFF"/>
        </a:lt1>
        <a:dk2>
          <a:srgbClr val="003366"/>
        </a:dk2>
        <a:lt2>
          <a:srgbClr val="D4D6D9"/>
        </a:lt2>
        <a:accent1>
          <a:srgbClr val="A8ADB3"/>
        </a:accent1>
        <a:accent2>
          <a:srgbClr val="006384"/>
        </a:accent2>
        <a:accent3>
          <a:srgbClr val="FFFFFF"/>
        </a:accent3>
        <a:accent4>
          <a:srgbClr val="000000"/>
        </a:accent4>
        <a:accent5>
          <a:srgbClr val="D1D3D6"/>
        </a:accent5>
        <a:accent6>
          <a:srgbClr val="005977"/>
        </a:accent6>
        <a:hlink>
          <a:srgbClr val="5F1939"/>
        </a:hlink>
        <a:folHlink>
          <a:srgbClr val="80B0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VWITS_16_99.potx" id="{BB2BA588-D4A3-46AE-88D6-FD20F53C3055}" vid="{4DCCC5F9-CC0F-4814-9C64-5A9EED7C0C21}"/>
    </a:ext>
  </a:extLst>
</a:theme>
</file>

<file path=ppt/theme/theme6.xml><?xml version="1.0" encoding="utf-8"?>
<a:theme xmlns:a="http://schemas.openxmlformats.org/drawingml/2006/main" name="4_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7.xml><?xml version="1.0" encoding="utf-8"?>
<a:theme xmlns:a="http://schemas.openxmlformats.org/drawingml/2006/main" name="5_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0140e68-e89c-491e-8ce6-2e3e85c12d94">
      <Terms xmlns="http://schemas.microsoft.com/office/infopath/2007/PartnerControls"/>
    </lcf76f155ced4ddcb4097134ff3c332f>
    <TaxCatchAll xmlns="d2486c61-ecc4-4414-bc8a-8a4f6cbfd1ea">
      <Value>1</Value>
    </TaxCatchAll>
    <RevIMDocumentOwner xmlns="d2486c61-ecc4-4414-bc8a-8a4f6cbfd1ea">
      <UserInfo>
        <DisplayName/>
        <AccountId xsi:nil="true"/>
        <AccountType/>
      </UserInfo>
    </RevIMDocumentOwner>
    <RevIMComments xmlns="d2486c61-ecc4-4414-bc8a-8a4f6cbfd1ea" xsi:nil="true"/>
    <RevIMDeletionDate xmlns="d2486c61-ecc4-4414-bc8a-8a4f6cbfd1ea">2027-06-16T10:51:37+00:00</RevIMDeletionDate>
    <i0f84bba906045b4af568ee102a52dcb xmlns="d2486c61-ecc4-4414-bc8a-8a4f6cbfd1ea">
      <Terms xmlns="http://schemas.microsoft.com/office/infopath/2007/PartnerControls">
        <TermInfo xmlns="http://schemas.microsoft.com/office/infopath/2007/PartnerControls">
          <TermName xmlns="http://schemas.microsoft.com/office/infopath/2007/PartnerControls">0.1 Initial category</TermName>
          <TermId xmlns="http://schemas.microsoft.com/office/infopath/2007/PartnerControls">0239cc7a-0c96-48a8-9e0e-a383e362571c</TermId>
        </TermInfo>
      </Terms>
    </i0f84bba906045b4af568ee102a52dcb>
    <RevIMEventDate xmlns="d2486c61-ecc4-4414-bc8a-8a4f6cbfd1ea" xsi:nil="true"/>
    <RevIMExtends xmlns="d2486c61-ecc4-4414-bc8a-8a4f6cbfd1ea">{"Locked":null,"LockedBy":null,"UnLocked":null,"UnLockedBy":null,"Classified":"2025-06-16T12:06:42.669Z","KSUClass":"0239cc7a-0c96-48a8-9e0e-a383e362571c","Reclassified":null,"ReclassifiedBy":null,"EDReclassified":null,"EDReclassifiedBy":null,"EventCreated":null,"EventModified":null,"EventDeleted":null,"EventCreatedBy":null,"EventModifiedBy":null,"EventDeletedBy":null,"Moved":null,"MovedBy":null,"MovedFrom":null}</RevIMExtends>
    <p538114b6b1847e8aa1badc1b66def60 xmlns="d2486c61-ecc4-4414-bc8a-8a4f6cbfd1ea">
      <Terms xmlns="http://schemas.microsoft.com/office/infopath/2007/PartnerControls"/>
    </p538114b6b1847e8aa1badc1b66def60>
    <SharedWithUsers xmlns="d2486c61-ecc4-4414-bc8a-8a4f6cbfd1ea">
      <UserInfo>
        <DisplayName>Thorat, Abhijit (VWITS India I-GC-F)</DisplayName>
        <AccountId>1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B20F5B34A403D458BFC898277EA8872" ma:contentTypeVersion="22" ma:contentTypeDescription="Create a new document." ma:contentTypeScope="" ma:versionID="57f3eb4200069e04c80e186cd87f92fb">
  <xsd:schema xmlns:xsd="http://www.w3.org/2001/XMLSchema" xmlns:xs="http://www.w3.org/2001/XMLSchema" xmlns:p="http://schemas.microsoft.com/office/2006/metadata/properties" xmlns:ns2="d2486c61-ecc4-4414-bc8a-8a4f6cbfd1ea" xmlns:ns3="b0140e68-e89c-491e-8ce6-2e3e85c12d94" targetNamespace="http://schemas.microsoft.com/office/2006/metadata/properties" ma:root="true" ma:fieldsID="5984ba290ef53e6a48f957eb9a9b05aa" ns2:_="" ns3:_="">
    <xsd:import namespace="d2486c61-ecc4-4414-bc8a-8a4f6cbfd1ea"/>
    <xsd:import namespace="b0140e68-e89c-491e-8ce6-2e3e85c12d94"/>
    <xsd:element name="properties">
      <xsd:complexType>
        <xsd:sequence>
          <xsd:element name="documentManagement">
            <xsd:complexType>
              <xsd:all>
                <xsd:element ref="ns2:p538114b6b1847e8aa1badc1b66def60" minOccurs="0"/>
                <xsd:element ref="ns2:TaxCatchAll" minOccurs="0"/>
                <xsd:element ref="ns2:TaxCatchAllLabel" minOccurs="0"/>
                <xsd:element ref="ns2:i0f84bba906045b4af568ee102a52dcb" minOccurs="0"/>
                <xsd:element ref="ns2:RevIMDeletionDate" minOccurs="0"/>
                <xsd:element ref="ns2:RevIMEventDate" minOccurs="0"/>
                <xsd:element ref="ns2:RevIMComments" minOccurs="0"/>
                <xsd:element ref="ns2:RevIMDocumentOwner" minOccurs="0"/>
                <xsd:element ref="ns2:RevIMExtends" minOccurs="0"/>
                <xsd:element ref="ns3:MediaServiceMetadata" minOccurs="0"/>
                <xsd:element ref="ns3:MediaServiceFastMetadata" minOccurs="0"/>
                <xsd:element ref="ns3:MediaLengthInSeconds" minOccurs="0"/>
                <xsd:element ref="ns3:MediaServiceObjectDetectorVersions" minOccurs="0"/>
                <xsd:element ref="ns2:SharedWithUsers" minOccurs="0"/>
                <xsd:element ref="ns2:SharedWithDetails" minOccurs="0"/>
                <xsd:element ref="ns3:MediaServiceGenerationTime" minOccurs="0"/>
                <xsd:element ref="ns3:MediaServiceEventHashCode" minOccurs="0"/>
                <xsd:element ref="ns3:MediaServiceSearchProperties" minOccurs="0"/>
                <xsd:element ref="ns3:MediaServiceDateTaken" minOccurs="0"/>
                <xsd:element ref="ns3:lcf76f155ced4ddcb4097134ff3c332f" minOccurs="0"/>
                <xsd:element ref="ns3:MediaServiceOCR"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486c61-ecc4-4414-bc8a-8a4f6cbfd1ea" elementFormDefault="qualified">
    <xsd:import namespace="http://schemas.microsoft.com/office/2006/documentManagement/types"/>
    <xsd:import namespace="http://schemas.microsoft.com/office/infopath/2007/PartnerControls"/>
    <xsd:element name="p538114b6b1847e8aa1badc1b66def60" ma:index="8" nillable="true" ma:taxonomy="true" ma:internalName="p538114b6b1847e8aa1badc1b66def60" ma:taxonomyFieldName="LegalHoldTag" ma:displayName="LegalHold" ma:fieldId="{9538114b-6b18-47e8-aa1b-adc1b66def60}"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4be2d2b3-f1e4-49e1-b4b1-e318e1781819}" ma:internalName="TaxCatchAll" ma:showField="CatchAllData" ma:web="d2486c61-ecc4-4414-bc8a-8a4f6cbfd1e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4be2d2b3-f1e4-49e1-b4b1-e318e1781819}" ma:internalName="TaxCatchAllLabel" ma:readOnly="true" ma:showField="CatchAllDataLabel" ma:web="d2486c61-ecc4-4414-bc8a-8a4f6cbfd1ea">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3"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4" nillable="true" ma:displayName="Deletion Date" ma:description="Deletion Date" ma:format="DateOnly" ma:internalName="RevIMDeletionDate" ma:readOnly="true">
      <xsd:simpleType>
        <xsd:restriction base="dms:DateTime"/>
      </xsd:simpleType>
    </xsd:element>
    <xsd:element name="RevIMEventDate" ma:index="15" nillable="true" ma:displayName="Event Date" ma:description="Event Date" ma:format="DateOnly" ma:internalName="RevIMEventDate" ma:readOnly="true">
      <xsd:simpleType>
        <xsd:restriction base="dms:DateTime"/>
      </xsd:simpleType>
    </xsd:element>
    <xsd:element name="RevIMComments" ma:index="16" nillable="true" ma:displayName="Event Comment" ma:internalName="RevIMComments" ma:readOnly="true">
      <xsd:simpleType>
        <xsd:restriction base="dms:Note">
          <xsd:maxLength value="255"/>
        </xsd:restriction>
      </xsd:simpleType>
    </xsd:element>
    <xsd:element name="RevIMDocumentOwner" ma:index="17"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18" nillable="true" ma:displayName="RevIMExtends" ma:hidden="true" ma:internalName="RevIMExtends" ma:readOnly="true">
      <xsd:simpleType>
        <xsd:restriction base="dms:Note"/>
      </xsd:simpleType>
    </xsd:element>
    <xsd:element name="SharedWithUsers" ma:index="2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140e68-e89c-491e-8ce6-2e3e85c12d94"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DateTaken" ma:index="28" nillable="true" ma:displayName="MediaServiceDateTaken" ma:hidden="true" ma:indexed="true" ma:internalName="MediaServiceDateTaken" ma:readOnly="true">
      <xsd:simpleType>
        <xsd:restriction base="dms:Text"/>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OCR" ma:index="31" nillable="true" ma:displayName="Extracted Text" ma:internalName="MediaServiceOCR" ma:readOnly="true">
      <xsd:simpleType>
        <xsd:restriction base="dms:Note">
          <xsd:maxLength value="255"/>
        </xsd:restriction>
      </xsd:simpleType>
    </xsd:element>
    <xsd:element name="MediaServiceBillingMetadata" ma:index="32"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8D6C96-0588-4161-ADF7-DDF0B540F0EC}">
  <ds:schemaRefs>
    <ds:schemaRef ds:uri="http://www.w3.org/XML/1998/namespace"/>
    <ds:schemaRef ds:uri="http://schemas.microsoft.com/office/infopath/2007/PartnerControls"/>
    <ds:schemaRef ds:uri="http://schemas.openxmlformats.org/package/2006/metadata/core-properties"/>
    <ds:schemaRef ds:uri="http://purl.org/dc/elements/1.1/"/>
    <ds:schemaRef ds:uri="d2486c61-ecc4-4414-bc8a-8a4f6cbfd1ea"/>
    <ds:schemaRef ds:uri="http://purl.org/dc/terms/"/>
    <ds:schemaRef ds:uri="http://schemas.microsoft.com/office/2006/metadata/properties"/>
    <ds:schemaRef ds:uri="http://schemas.microsoft.com/office/2006/documentManagement/types"/>
    <ds:schemaRef ds:uri="b0140e68-e89c-491e-8ce6-2e3e85c12d94"/>
    <ds:schemaRef ds:uri="http://purl.org/dc/dcmitype/"/>
  </ds:schemaRefs>
</ds:datastoreItem>
</file>

<file path=customXml/itemProps2.xml><?xml version="1.0" encoding="utf-8"?>
<ds:datastoreItem xmlns:ds="http://schemas.openxmlformats.org/officeDocument/2006/customXml" ds:itemID="{B3BEA9B6-FE69-4B9C-9523-175110119891}">
  <ds:schemaRefs>
    <ds:schemaRef ds:uri="b0140e68-e89c-491e-8ce6-2e3e85c12d94"/>
    <ds:schemaRef ds:uri="d2486c61-ecc4-4414-bc8a-8a4f6cbfd1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9E8F22-A635-43FD-96A3-D0DE94292365}">
  <ds:schemaRefs>
    <ds:schemaRef ds:uri="http://schemas.microsoft.com/sharepoint/v3/contenttype/forms"/>
  </ds:schemaRefs>
</ds:datastoreItem>
</file>

<file path=docMetadata/LabelInfo.xml><?xml version="1.0" encoding="utf-8"?>
<clbl:labelList xmlns:clbl="http://schemas.microsoft.com/office/2020/mipLabelMetadata">
  <clbl:label id="{b1c9b508-7c6e-42bd-bedf-808292653d6c}" enabled="1" method="Standard" siteId="{2882be50-2012-4d88-ac86-544124e120c8}" removed="0"/>
</clbl:labelList>
</file>

<file path=docProps/app.xml><?xml version="1.0" encoding="utf-8"?>
<Properties xmlns="http://schemas.openxmlformats.org/officeDocument/2006/extended-properties" xmlns:vt="http://schemas.openxmlformats.org/officeDocument/2006/docPropsVTypes">
  <Template>blank</Template>
  <TotalTime>0</TotalTime>
  <Words>26</Words>
  <Application>Microsoft Office PowerPoint</Application>
  <PresentationFormat>Widescreen</PresentationFormat>
  <Paragraphs>5</Paragraphs>
  <Slides>2</Slides>
  <Notes>0</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2</vt:i4>
      </vt:variant>
      <vt:variant>
        <vt:lpstr>Slide Titles</vt:lpstr>
      </vt:variant>
      <vt:variant>
        <vt:i4>2</vt:i4>
      </vt:variant>
    </vt:vector>
  </HeadingPairs>
  <TitlesOfParts>
    <vt:vector size="18" baseType="lpstr">
      <vt:lpstr>Arial</vt:lpstr>
      <vt:lpstr>Calibri</vt:lpstr>
      <vt:lpstr>Symbol</vt:lpstr>
      <vt:lpstr>The Group HEAD Light</vt:lpstr>
      <vt:lpstr>The Group TEXT</vt:lpstr>
      <vt:lpstr>VWAG TheSans</vt:lpstr>
      <vt:lpstr>Wingdings</vt:lpstr>
      <vt:lpstr>Volkswagen Group Template</vt:lpstr>
      <vt:lpstr>1_Volkswagen Group Template</vt:lpstr>
      <vt:lpstr>2_Volkswagen Group Template</vt:lpstr>
      <vt:lpstr>3_Volkswagen Group Template</vt:lpstr>
      <vt:lpstr>1_VWITS_169</vt:lpstr>
      <vt:lpstr>4_Volkswagen Group Template</vt:lpstr>
      <vt:lpstr>5_Volkswagen Group Template</vt:lpstr>
      <vt:lpstr>think-cell Slide</vt:lpstr>
      <vt:lpstr>think-cell Folie</vt:lpstr>
      <vt:lpstr>FutureTech  Classification: Internal</vt:lpstr>
      <vt:lpstr>PowerPoint Presentation</vt:lpstr>
    </vt:vector>
  </TitlesOfParts>
  <Manager/>
  <Company>Volkswagen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tech product overview</dc:title>
  <dc:subject/>
  <dc:creator>Mahajani, Parag (VWITS India I-GC-E)</dc:creator>
  <cp:keywords/>
  <dc:description/>
  <cp:lastModifiedBy>Gupta, Nikhil (VWITS India I-TF)</cp:lastModifiedBy>
  <cp:revision>1</cp:revision>
  <dcterms:created xsi:type="dcterms:W3CDTF">2024-01-12T09:50:31Z</dcterms:created>
  <dcterms:modified xsi:type="dcterms:W3CDTF">2025-06-24T04:44: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20F5B34A403D458BFC898277EA8872</vt:lpwstr>
  </property>
  <property fmtid="{D5CDD505-2E9C-101B-9397-08002B2CF9AE}" pid="3" name="MSIP_Label_b1c9b508-7c6e-42bd-bedf-808292653d6c_Enabled">
    <vt:lpwstr>true</vt:lpwstr>
  </property>
  <property fmtid="{D5CDD505-2E9C-101B-9397-08002B2CF9AE}" pid="4" name="MSIP_Label_b1c9b508-7c6e-42bd-bedf-808292653d6c_SetDate">
    <vt:lpwstr>2024-01-15T08:29:37Z</vt:lpwstr>
  </property>
  <property fmtid="{D5CDD505-2E9C-101B-9397-08002B2CF9AE}" pid="5" name="MSIP_Label_b1c9b508-7c6e-42bd-bedf-808292653d6c_Method">
    <vt:lpwstr>Standard</vt:lpwstr>
  </property>
  <property fmtid="{D5CDD505-2E9C-101B-9397-08002B2CF9AE}" pid="6" name="MSIP_Label_b1c9b508-7c6e-42bd-bedf-808292653d6c_Name">
    <vt:lpwstr>b1c9b508-7c6e-42bd-bedf-808292653d6c</vt:lpwstr>
  </property>
  <property fmtid="{D5CDD505-2E9C-101B-9397-08002B2CF9AE}" pid="7" name="MSIP_Label_b1c9b508-7c6e-42bd-bedf-808292653d6c_SiteId">
    <vt:lpwstr>2882be50-2012-4d88-ac86-544124e120c8</vt:lpwstr>
  </property>
  <property fmtid="{D5CDD505-2E9C-101B-9397-08002B2CF9AE}" pid="8" name="MSIP_Label_b1c9b508-7c6e-42bd-bedf-808292653d6c_ActionId">
    <vt:lpwstr>442257cf-0e09-4011-a81d-873e82e09b4a</vt:lpwstr>
  </property>
  <property fmtid="{D5CDD505-2E9C-101B-9397-08002B2CF9AE}" pid="9" name="MSIP_Label_b1c9b508-7c6e-42bd-bedf-808292653d6c_ContentBits">
    <vt:lpwstr>3</vt:lpwstr>
  </property>
  <property fmtid="{D5CDD505-2E9C-101B-9397-08002B2CF9AE}" pid="10" name="ClassificationContentMarkingFooterLocations">
    <vt:lpwstr>Volkswagen Group Template:16</vt:lpwstr>
  </property>
  <property fmtid="{D5CDD505-2E9C-101B-9397-08002B2CF9AE}" pid="11" name="ClassificationContentMarkingFooterText">
    <vt:lpwstr>INTERNAL</vt:lpwstr>
  </property>
  <property fmtid="{D5CDD505-2E9C-101B-9397-08002B2CF9AE}" pid="12" name="RevIMBCS">
    <vt:lpwstr>1;#0.1 Initial category|0239cc7a-0c96-48a8-9e0e-a383e362571c</vt:lpwstr>
  </property>
  <property fmtid="{D5CDD505-2E9C-101B-9397-08002B2CF9AE}" pid="13" name="MediaServiceImageTags">
    <vt:lpwstr/>
  </property>
  <property fmtid="{D5CDD505-2E9C-101B-9397-08002B2CF9AE}" pid="14" name="LegalHoldTag">
    <vt:lpwstr/>
  </property>
</Properties>
</file>